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7"/>
  </p:notesMasterIdLst>
  <p:handoutMasterIdLst>
    <p:handoutMasterId r:id="rId18"/>
  </p:handoutMasterIdLst>
  <p:sldIdLst>
    <p:sldId id="2147479279" r:id="rId5"/>
    <p:sldId id="16680" r:id="rId6"/>
    <p:sldId id="2147479275" r:id="rId7"/>
    <p:sldId id="2147479265" r:id="rId8"/>
    <p:sldId id="2147479278" r:id="rId9"/>
    <p:sldId id="2147479274" r:id="rId10"/>
    <p:sldId id="2147479276" r:id="rId11"/>
    <p:sldId id="2147479267" r:id="rId12"/>
    <p:sldId id="16738" r:id="rId13"/>
    <p:sldId id="16735" r:id="rId14"/>
    <p:sldId id="16685" r:id="rId15"/>
    <p:sldId id="16729" r:id="rId16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794C9881-33CE-4290-BB33-6A369D663A30}">
          <p14:sldIdLst>
            <p14:sldId id="2147479279"/>
            <p14:sldId id="16680"/>
            <p14:sldId id="2147479275"/>
            <p14:sldId id="2147479265"/>
            <p14:sldId id="2147479278"/>
            <p14:sldId id="2147479274"/>
            <p14:sldId id="2147479276"/>
            <p14:sldId id="2147479267"/>
            <p14:sldId id="16738"/>
            <p14:sldId id="16735"/>
            <p14:sldId id="16685"/>
            <p14:sldId id="1672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24E6103-FCA8-D8DE-B579-E96E5877DE6A}" name="TURNSKÝ Tomáš" initials="TT" userId="S::tomas_turnsky@csobstavebni.cz::aa52b13d-8525-4dc4-8481-1ee8a3a2bd1a" providerId="AD"/>
  <p188:author id="{FF90A605-84D4-0F18-A082-EFDE7AF64995}" name="HOŘÍNKOVÁ Monika" initials="HM" userId="S::mhorinkova@csob.cz::a27d8ea3-3077-4198-a201-1143829252dd" providerId="AD"/>
  <p188:author id="{894A7214-4C15-5944-7CB2-DFAAD69DBB53}" name="Uživatel typu Host" initials="UH" userId="S::urn:spo:tenantanon#7996e724-0030-447b-be19-2a8c15dcb25b::" providerId="AD"/>
  <p188:author id="{A20E814C-2A40-A173-D92E-5CF26F315AFD}" name="TURNSKÝ Tomáš" initials="TT" userId="S::Tomas_Turnsky@csobstavebni.cz::aa52b13d-8525-4dc4-8481-1ee8a3a2bd1a" providerId="AD"/>
  <p188:author id="{489FC19C-2A0F-C258-685A-843FE43CF6C3}" name="FIALA Marek" initials="MF" userId="S::Marek_Fiala@csobstavebni.cz::aee38c35-e2e4-4f37-8cc0-dd1ccc3139b5" providerId="AD"/>
  <p188:author id="{5770D0A4-0D8A-0B62-953B-0233112D98DD}" name="Tomáš Zimmermann" initials="TZ" userId="S::tomas.zimmermann@bisonrose.cz::f1d83388-375d-4ea8-ab7b-ffb3b7731d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F0FF"/>
    <a:srgbClr val="E1F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378" autoAdjust="0"/>
    <p:restoredTop sz="95706" autoAdjust="0"/>
  </p:normalViewPr>
  <p:slideViewPr>
    <p:cSldViewPr snapToGrid="0">
      <p:cViewPr varScale="1">
        <p:scale>
          <a:sx n="68" d="100"/>
          <a:sy n="68" d="100"/>
        </p:scale>
        <p:origin x="1992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1" d="100"/>
          <a:sy n="81" d="100"/>
        </p:scale>
        <p:origin x="2290" y="3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ít Franěk" userId="023dddcc-8a37-43e6-b289-80fe017b2397" providerId="ADAL" clId="{624E8889-AB9F-4AA4-908B-7366B2D49508}"/>
    <pc:docChg chg="addSld modSld sldOrd modSection">
      <pc:chgData name="Vít Franěk" userId="023dddcc-8a37-43e6-b289-80fe017b2397" providerId="ADAL" clId="{624E8889-AB9F-4AA4-908B-7366B2D49508}" dt="2026-03-17T08:27:38.188" v="4" actId="729"/>
      <pc:docMkLst>
        <pc:docMk/>
      </pc:docMkLst>
      <pc:sldChg chg="mod modShow">
        <pc:chgData name="Vít Franěk" userId="023dddcc-8a37-43e6-b289-80fe017b2397" providerId="ADAL" clId="{624E8889-AB9F-4AA4-908B-7366B2D49508}" dt="2026-03-17T08:27:38.188" v="4" actId="729"/>
        <pc:sldMkLst>
          <pc:docMk/>
          <pc:sldMk cId="1378292174" sldId="16729"/>
        </pc:sldMkLst>
      </pc:sldChg>
      <pc:sldChg chg="addSp modSp new mod ord">
        <pc:chgData name="Vít Franěk" userId="023dddcc-8a37-43e6-b289-80fe017b2397" providerId="ADAL" clId="{624E8889-AB9F-4AA4-908B-7366B2D49508}" dt="2026-03-17T07:21:15.057" v="3" actId="931"/>
        <pc:sldMkLst>
          <pc:docMk/>
          <pc:sldMk cId="2319513995" sldId="2147479279"/>
        </pc:sldMkLst>
        <pc:picChg chg="add mod">
          <ac:chgData name="Vít Franěk" userId="023dddcc-8a37-43e6-b289-80fe017b2397" providerId="ADAL" clId="{624E8889-AB9F-4AA4-908B-7366B2D49508}" dt="2026-03-17T07:21:15.057" v="3" actId="931"/>
          <ac:picMkLst>
            <pc:docMk/>
            <pc:sldMk cId="2319513995" sldId="2147479279"/>
            <ac:picMk id="3" creationId="{90C7798B-66D6-036B-489C-DE67966E9EBA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466100218260733E-2"/>
          <c:y val="7.2065253752731356E-3"/>
          <c:w val="0.99713188798554653"/>
          <c:h val="0.823808936328717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4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64F5-4027-A441-BB6B3173A6A9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64F5-4027-A441-BB6B3173A6A9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4F5-4027-A441-BB6B3173A6A9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4F5-4027-A441-BB6B3173A6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Bytová družstva</c:v>
                </c:pt>
                <c:pt idx="1">
                  <c:v>Společenství vlastníků</c:v>
                </c:pt>
              </c:strCache>
            </c:strRef>
          </c:cat>
          <c:val>
            <c:numRef>
              <c:f>List1!$B$2:$B$3</c:f>
              <c:numCache>
                <c:formatCode>0" tisíc"</c:formatCode>
                <c:ptCount val="2"/>
                <c:pt idx="0">
                  <c:v>10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4F5-4027-A441-BB6B3173A6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401027296"/>
        <c:axId val="401033416"/>
      </c:barChart>
      <c:catAx>
        <c:axId val="401027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033416"/>
        <c:crosses val="autoZero"/>
        <c:auto val="1"/>
        <c:lblAlgn val="ctr"/>
        <c:lblOffset val="100"/>
        <c:noMultiLvlLbl val="0"/>
      </c:catAx>
      <c:valAx>
        <c:axId val="401033416"/>
        <c:scaling>
          <c:orientation val="minMax"/>
        </c:scaling>
        <c:delete val="0"/>
        <c:axPos val="l"/>
        <c:numFmt formatCode="0&quot; tisíc&quot;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027296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0"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351283436657243"/>
          <c:y val="0.1986316176558896"/>
          <c:w val="0.64979247519611727"/>
          <c:h val="0.68921819504426585"/>
        </c:manualLayout>
      </c:layout>
      <c:doughnut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effectLst/>
          </c:spPr>
          <c:dPt>
            <c:idx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BAB-4840-91B7-00BD671DBE4C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BAB-4840-91B7-00BD671DBE4C}"/>
              </c:ext>
            </c:extLst>
          </c:dPt>
          <c:dLbls>
            <c:dLbl>
              <c:idx val="0"/>
              <c:layout>
                <c:manualLayout>
                  <c:x val="-7.0543026083507843E-17"/>
                  <c:y val="-3.63155760651186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square" lIns="0" tIns="0" rIns="0" bIns="0" anchor="ctr" anchorCtr="0">
                  <a:spAutoFit/>
                </a:bodyPr>
                <a:lstStyle/>
                <a:p>
                  <a:pPr algn="l">
                    <a:defRPr sz="1600" b="0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DBAB-4840-91B7-00BD671DBE4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BAB-4840-91B7-00BD671DBE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1600" b="0" i="0" u="none" strike="noStrike" kern="1200" spc="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Ostatní byty</c:v>
                </c:pt>
                <c:pt idx="1">
                  <c:v>Družstevní byty</c:v>
                </c:pt>
              </c:strCache>
            </c:strRef>
          </c:cat>
          <c:val>
            <c:numRef>
              <c:f>List1!$B$2:$B$3</c:f>
              <c:numCache>
                <c:formatCode>0.0\ %</c:formatCode>
                <c:ptCount val="2"/>
                <c:pt idx="0">
                  <c:v>0.90600000000000003</c:v>
                </c:pt>
                <c:pt idx="1">
                  <c:v>9.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AB-4840-91B7-00BD671DBE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35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681120144534778E-3"/>
          <c:y val="0"/>
          <c:w val="0.99713188798554653"/>
          <c:h val="0.832825168790244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4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 w="3175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B31-470D-9A4C-78793B595D03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  <a:ln w="3175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B31-470D-9A4C-78793B595D0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98350971371772"/>
                      <c:h val="0.1265685958092072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8B31-470D-9A4C-78793B595D0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0CD18C0-8AAD-43D3-A2D5-9FDAD78B9DB3}" type="VALUE">
                      <a:rPr lang="en-US" b="0" smtClean="0">
                        <a:solidFill>
                          <a:schemeClr val="bg1"/>
                        </a:solidFill>
                      </a:rPr>
                      <a:pPr/>
                      <a:t>[HODNOTA]</a:t>
                    </a:fld>
                    <a:endParaRPr lang="cs-CZ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228877016540467"/>
                      <c:h val="8.4379052435556517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B31-470D-9A4C-78793B595D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List1!$A$2:$A$3</c:f>
              <c:numCache>
                <c:formatCode>General</c:formatCode>
                <c:ptCount val="2"/>
                <c:pt idx="0">
                  <c:v>2004</c:v>
                </c:pt>
                <c:pt idx="1">
                  <c:v>2025</c:v>
                </c:pt>
              </c:numCache>
            </c:numRef>
          </c:cat>
          <c:val>
            <c:numRef>
              <c:f>List1!$B$2:$B$3</c:f>
              <c:numCache>
                <c:formatCode>0.0\ %</c:formatCode>
                <c:ptCount val="2"/>
                <c:pt idx="0">
                  <c:v>0.14000000000000001</c:v>
                </c:pt>
                <c:pt idx="1">
                  <c:v>5.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31-470D-9A4C-78793B595D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401027296"/>
        <c:axId val="401033416"/>
      </c:barChart>
      <c:catAx>
        <c:axId val="401027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24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033416"/>
        <c:crosses val="autoZero"/>
        <c:auto val="0"/>
        <c:lblAlgn val="ctr"/>
        <c:lblOffset val="0"/>
        <c:noMultiLvlLbl val="0"/>
      </c:catAx>
      <c:valAx>
        <c:axId val="401033416"/>
        <c:scaling>
          <c:orientation val="minMax"/>
        </c:scaling>
        <c:delete val="0"/>
        <c:axPos val="l"/>
        <c:numFmt formatCode="0\ %" sourceLinked="0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027296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0"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929490295194582E-3"/>
          <c:y val="0"/>
          <c:w val="0.99840705097048055"/>
          <c:h val="0.64067583973679265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List1!$C$1</c:f>
              <c:strCache>
                <c:ptCount val="1"/>
                <c:pt idx="0">
                  <c:v>Splátka úvěru od družstv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98-4497-BA90-244B953D2578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7AF-4715-8CD4-5855B0844538}"/>
                </c:ext>
              </c:extLst>
            </c:dLbl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Měsíční zatížení klienta</c:v>
                </c:pt>
                <c:pt idx="1">
                  <c:v>Měsíční splátka klienta</c:v>
                </c:pt>
              </c:strCache>
            </c:strRef>
          </c:cat>
          <c:val>
            <c:numRef>
              <c:f>List1!$C$2:$C$3</c:f>
              <c:numCache>
                <c:formatCode>#\ ##0\ "Kč"</c:formatCode>
                <c:ptCount val="2"/>
                <c:pt idx="0">
                  <c:v>20162</c:v>
                </c:pt>
                <c:pt idx="1">
                  <c:v>238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7AF-4715-8CD4-5855B0844538}"/>
            </c:ext>
          </c:extLst>
        </c:ser>
        <c:ser>
          <c:idx val="2"/>
          <c:order val="1"/>
          <c:tx>
            <c:strRef>
              <c:f>List1!$B$1</c:f>
              <c:strCache>
                <c:ptCount val="1"/>
                <c:pt idx="0">
                  <c:v>Splátka překlenovacího úvěr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List1!$A$2:$A$3</c:f>
              <c:strCache>
                <c:ptCount val="2"/>
                <c:pt idx="0">
                  <c:v>Měsíční zatížení klienta</c:v>
                </c:pt>
                <c:pt idx="1">
                  <c:v>Měsíční splátka klienta</c:v>
                </c:pt>
              </c:strCache>
            </c:strRef>
          </c:cat>
          <c:val>
            <c:numRef>
              <c:f>List1!$B$2:$B$3</c:f>
              <c:numCache>
                <c:formatCode>#\ ##0\ "Kč"</c:formatCode>
                <c:ptCount val="2"/>
                <c:pt idx="0">
                  <c:v>6258</c:v>
                </c:pt>
                <c:pt idx="1">
                  <c:v>70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AF-4715-8CD4-5855B0844538}"/>
            </c:ext>
          </c:extLst>
        </c:ser>
        <c:ser>
          <c:idx val="0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1240973796618724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01-410C-82D1-F2EDBA334A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0">
                <a:spAutoFit/>
              </a:bodyPr>
              <a:lstStyle/>
              <a:p>
                <a:pPr algn="ctr">
                  <a:defRPr lang="en-US"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Měsíční zatížení klienta</c:v>
                </c:pt>
                <c:pt idx="1">
                  <c:v>Měsíční splátka klienta</c:v>
                </c:pt>
              </c:strCache>
            </c:strRef>
          </c:cat>
          <c:val>
            <c:numRef>
              <c:f>List1!$D$2:$D$3</c:f>
              <c:numCache>
                <c:formatCode>#\ ##0\ "Kč"</c:formatCode>
                <c:ptCount val="2"/>
                <c:pt idx="0">
                  <c:v>26420</c:v>
                </c:pt>
                <c:pt idx="1">
                  <c:v>309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47AF-4715-8CD4-5855B08445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537756800"/>
        <c:axId val="537758240"/>
      </c:barChart>
      <c:catAx>
        <c:axId val="537756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6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7758240"/>
        <c:crosses val="autoZero"/>
        <c:auto val="1"/>
        <c:lblAlgn val="ctr"/>
        <c:lblOffset val="0"/>
        <c:noMultiLvlLbl val="0"/>
      </c:catAx>
      <c:valAx>
        <c:axId val="537758240"/>
        <c:scaling>
          <c:orientation val="minMax"/>
          <c:max val="40000"/>
          <c:min val="0"/>
        </c:scaling>
        <c:delete val="0"/>
        <c:axPos val="l"/>
        <c:numFmt formatCode="#\ ##0\ &quot;Kč&quot;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7756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929490295194582E-3"/>
          <c:y val="0.16207912658628312"/>
          <c:w val="0.99840705097048055"/>
          <c:h val="0.6164904260471165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List1!$B$1</c:f>
              <c:strCache>
                <c:ptCount val="1"/>
                <c:pt idx="0">
                  <c:v>Úvěrové zatížení klient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\ &quot;Kč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98-4497-BA90-244B953D2578}"/>
                </c:ext>
              </c:extLst>
            </c:dLbl>
            <c:dLbl>
              <c:idx val="1"/>
              <c:numFmt formatCode="#,##0\ &quot;Kč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7AF-4715-8CD4-5855B0844538}"/>
                </c:ext>
              </c:extLst>
            </c:dLbl>
            <c:numFmt formatCode="#,##0\ &quot;Kč&quot;" sourceLinked="0"/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0">
                <a:spAutoFit/>
              </a:bodyPr>
              <a:lstStyle/>
              <a:p>
                <a:pPr algn="ctr">
                  <a:defRPr lang="en-US"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Úvěrové zatížení klienta</c:v>
                </c:pt>
                <c:pt idx="1">
                  <c:v>Úvěrové zatížení klienta</c:v>
                </c:pt>
              </c:strCache>
            </c:strRef>
          </c:cat>
          <c:val>
            <c:numRef>
              <c:f>List1!$B$2:$B$3</c:f>
              <c:numCache>
                <c:formatCode>#\ ##0\ "Kč"</c:formatCode>
                <c:ptCount val="2"/>
                <c:pt idx="0">
                  <c:v>1000000</c:v>
                </c:pt>
                <c:pt idx="1">
                  <c:v>5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7AF-4715-8CD4-5855B08445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537756800"/>
        <c:axId val="537758240"/>
      </c:barChart>
      <c:catAx>
        <c:axId val="537756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6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7758240"/>
        <c:crosses val="autoZero"/>
        <c:auto val="1"/>
        <c:lblAlgn val="ctr"/>
        <c:lblOffset val="0"/>
        <c:noMultiLvlLbl val="0"/>
      </c:catAx>
      <c:valAx>
        <c:axId val="537758240"/>
        <c:scaling>
          <c:orientation val="minMax"/>
          <c:max val="6000000"/>
          <c:min val="0"/>
        </c:scaling>
        <c:delete val="0"/>
        <c:axPos val="l"/>
        <c:numFmt formatCode="#\ ##0\ &quot;Kč&quot;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7756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994617710819904E-4"/>
          <c:y val="0.13261423468403549"/>
          <c:w val="0.93958959952420773"/>
          <c:h val="0.775849680506191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Hypoteční úvěry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44C-44B5-A5AC-FD43954CD64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17</c:f>
              <c:numCache>
                <c:formatCode>General</c:formatCod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numCache>
            </c:numRef>
          </c:cat>
          <c:val>
            <c:numRef>
              <c:f>List1!$B$2:$B$17</c:f>
              <c:numCache>
                <c:formatCode>0.0</c:formatCode>
                <c:ptCount val="16"/>
                <c:pt idx="0">
                  <c:v>84</c:v>
                </c:pt>
                <c:pt idx="1">
                  <c:v>119</c:v>
                </c:pt>
                <c:pt idx="2">
                  <c:v>123</c:v>
                </c:pt>
                <c:pt idx="3">
                  <c:v>156</c:v>
                </c:pt>
                <c:pt idx="4">
                  <c:v>150</c:v>
                </c:pt>
                <c:pt idx="5">
                  <c:v>190.3</c:v>
                </c:pt>
                <c:pt idx="6">
                  <c:v>225.8</c:v>
                </c:pt>
                <c:pt idx="7">
                  <c:v>225.8</c:v>
                </c:pt>
                <c:pt idx="8">
                  <c:v>218.4</c:v>
                </c:pt>
                <c:pt idx="9">
                  <c:v>181.6</c:v>
                </c:pt>
                <c:pt idx="10">
                  <c:v>264</c:v>
                </c:pt>
                <c:pt idx="11">
                  <c:v>450</c:v>
                </c:pt>
                <c:pt idx="12">
                  <c:v>163</c:v>
                </c:pt>
                <c:pt idx="13">
                  <c:v>137</c:v>
                </c:pt>
                <c:pt idx="14">
                  <c:v>254</c:v>
                </c:pt>
                <c:pt idx="15" formatCode="General">
                  <c:v>3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44C-44B5-A5AC-FD43954CD64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Úvěry ze stavebního spoření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44C-44B5-A5AC-FD43954CD64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17</c:f>
              <c:numCache>
                <c:formatCode>General</c:formatCod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numCache>
            </c:numRef>
          </c:cat>
          <c:val>
            <c:numRef>
              <c:f>List1!$C$2:$C$17</c:f>
              <c:numCache>
                <c:formatCode>0.0</c:formatCode>
                <c:ptCount val="16"/>
                <c:pt idx="0">
                  <c:v>58</c:v>
                </c:pt>
                <c:pt idx="1">
                  <c:v>48</c:v>
                </c:pt>
                <c:pt idx="2">
                  <c:v>42</c:v>
                </c:pt>
                <c:pt idx="3">
                  <c:v>41</c:v>
                </c:pt>
                <c:pt idx="4">
                  <c:v>37</c:v>
                </c:pt>
                <c:pt idx="5">
                  <c:v>45.8</c:v>
                </c:pt>
                <c:pt idx="6">
                  <c:v>47.9</c:v>
                </c:pt>
                <c:pt idx="7">
                  <c:v>55.3</c:v>
                </c:pt>
                <c:pt idx="8">
                  <c:v>67.400000000000006</c:v>
                </c:pt>
                <c:pt idx="9">
                  <c:v>47.8</c:v>
                </c:pt>
                <c:pt idx="10">
                  <c:v>65</c:v>
                </c:pt>
                <c:pt idx="11">
                  <c:v>110</c:v>
                </c:pt>
                <c:pt idx="12">
                  <c:v>53.5</c:v>
                </c:pt>
                <c:pt idx="13">
                  <c:v>33.299999999999997</c:v>
                </c:pt>
                <c:pt idx="14">
                  <c:v>48</c:v>
                </c:pt>
                <c:pt idx="15" formatCode="General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44C-44B5-A5AC-FD43954CD64A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17</c:f>
              <c:numCache>
                <c:formatCode>General</c:formatCod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numCache>
            </c:numRef>
          </c:cat>
          <c:val>
            <c:numRef>
              <c:f>List1!$D$2:$D$17</c:f>
              <c:numCache>
                <c:formatCode>General</c:formatCode>
                <c:ptCount val="16"/>
                <c:pt idx="0">
                  <c:v>142</c:v>
                </c:pt>
                <c:pt idx="1">
                  <c:v>167</c:v>
                </c:pt>
                <c:pt idx="2">
                  <c:v>165</c:v>
                </c:pt>
                <c:pt idx="3">
                  <c:v>197</c:v>
                </c:pt>
                <c:pt idx="4">
                  <c:v>187</c:v>
                </c:pt>
                <c:pt idx="5">
                  <c:v>236.10000000000002</c:v>
                </c:pt>
                <c:pt idx="6">
                  <c:v>273.7</c:v>
                </c:pt>
                <c:pt idx="7">
                  <c:v>281.10000000000002</c:v>
                </c:pt>
                <c:pt idx="8">
                  <c:v>285.8</c:v>
                </c:pt>
                <c:pt idx="9">
                  <c:v>229.39999999999998</c:v>
                </c:pt>
                <c:pt idx="10">
                  <c:v>329</c:v>
                </c:pt>
                <c:pt idx="11">
                  <c:v>560</c:v>
                </c:pt>
                <c:pt idx="12">
                  <c:v>216.5</c:v>
                </c:pt>
                <c:pt idx="13">
                  <c:v>170.3</c:v>
                </c:pt>
                <c:pt idx="14">
                  <c:v>302</c:v>
                </c:pt>
                <c:pt idx="15">
                  <c:v>4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44C-44B5-A5AC-FD43954CD6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537756800"/>
        <c:axId val="537758240"/>
      </c:barChart>
      <c:lineChart>
        <c:grouping val="standard"/>
        <c:varyColors val="0"/>
        <c:ser>
          <c:idx val="3"/>
          <c:order val="3"/>
          <c:tx>
            <c:strRef>
              <c:f>List1!$E$1</c:f>
              <c:strCache>
                <c:ptCount val="1"/>
                <c:pt idx="0">
                  <c:v>Průměrná úroková sazba</c:v>
                </c:pt>
              </c:strCache>
            </c:strRef>
          </c:tx>
          <c:spPr>
            <a:ln w="28575" cap="rnd" cmpd="sng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15"/>
            <c:marker>
              <c:symbol val="none"/>
            </c:marker>
            <c:bubble3D val="0"/>
            <c:spPr>
              <a:ln w="28575" cap="rnd" cmpd="sng">
                <a:solidFill>
                  <a:schemeClr val="accent1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244C-44B5-A5AC-FD43954CD64A}"/>
              </c:ext>
            </c:extLst>
          </c:dPt>
          <c:dLbls>
            <c:dLbl>
              <c:idx val="0"/>
              <c:layout>
                <c:manualLayout>
                  <c:x val="-3.8577862952316147E-2"/>
                  <c:y val="-4.24846260877088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44C-44B5-A5AC-FD43954CD64A}"/>
                </c:ext>
              </c:extLst>
            </c:dLbl>
            <c:dLbl>
              <c:idx val="6"/>
              <c:layout>
                <c:manualLayout>
                  <c:x val="-3.5579719201766447E-2"/>
                  <c:y val="-1.2054886215899561E-2"/>
                </c:manualLayout>
              </c:layout>
              <c:numFmt formatCode="0.00\ %" sourceLinked="0"/>
              <c:spPr>
                <a:solidFill>
                  <a:schemeClr val="accent1"/>
                </a:solidFill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D-244C-44B5-A5AC-FD43954CD64A}"/>
                </c:ext>
              </c:extLst>
            </c:dLbl>
            <c:dLbl>
              <c:idx val="1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44C-44B5-A5AC-FD43954CD64A}"/>
                </c:ext>
              </c:extLst>
            </c:dLbl>
            <c:dLbl>
              <c:idx val="14"/>
              <c:layout>
                <c:manualLayout>
                  <c:x val="-3.5669623970892878E-2"/>
                  <c:y val="-7.16584119751902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44C-44B5-A5AC-FD43954CD64A}"/>
                </c:ext>
              </c:extLst>
            </c:dLbl>
            <c:dLbl>
              <c:idx val="15"/>
              <c:layout>
                <c:manualLayout>
                  <c:x val="1.2296896532084069E-2"/>
                  <c:y val="8.323507880133621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44C-44B5-A5AC-FD43954CD64A}"/>
                </c:ext>
              </c:extLst>
            </c:dLbl>
            <c:numFmt formatCode="0.0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8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A$2:$A$17</c:f>
              <c:numCache>
                <c:formatCode>General</c:formatCod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numCache>
            </c:numRef>
          </c:cat>
          <c:val>
            <c:numRef>
              <c:f>List1!$E$2:$E$17</c:f>
              <c:numCache>
                <c:formatCode>0.00%</c:formatCode>
                <c:ptCount val="16"/>
                <c:pt idx="0">
                  <c:v>4.8300000000000003E-2</c:v>
                </c:pt>
                <c:pt idx="1">
                  <c:v>4.0099999999999997E-2</c:v>
                </c:pt>
                <c:pt idx="2">
                  <c:v>3.5099999999999999E-2</c:v>
                </c:pt>
                <c:pt idx="3">
                  <c:v>3.0499999999999999E-2</c:v>
                </c:pt>
                <c:pt idx="4">
                  <c:v>2.7000000000000003E-2</c:v>
                </c:pt>
                <c:pt idx="5">
                  <c:v>2.12E-2</c:v>
                </c:pt>
                <c:pt idx="6">
                  <c:v>1.8700000000000001E-2</c:v>
                </c:pt>
                <c:pt idx="7">
                  <c:v>2.0199999999999999E-2</c:v>
                </c:pt>
                <c:pt idx="8">
                  <c:v>2.5499999999999998E-2</c:v>
                </c:pt>
                <c:pt idx="9">
                  <c:v>2.6499999999999999E-2</c:v>
                </c:pt>
                <c:pt idx="10">
                  <c:v>2.1700000000000001E-2</c:v>
                </c:pt>
                <c:pt idx="11">
                  <c:v>2.2599999999999999E-2</c:v>
                </c:pt>
                <c:pt idx="12">
                  <c:v>4.5999999999999999E-2</c:v>
                </c:pt>
                <c:pt idx="13">
                  <c:v>5.67E-2</c:v>
                </c:pt>
                <c:pt idx="14">
                  <c:v>5.0200000000000002E-2</c:v>
                </c:pt>
                <c:pt idx="15">
                  <c:v>4.56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244C-44B5-A5AC-FD43954CD6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2729695"/>
        <c:axId val="652731615"/>
      </c:lineChart>
      <c:catAx>
        <c:axId val="537756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8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7758240"/>
        <c:crosses val="autoZero"/>
        <c:auto val="1"/>
        <c:lblAlgn val="ctr"/>
        <c:lblOffset val="0"/>
        <c:noMultiLvlLbl val="0"/>
      </c:catAx>
      <c:valAx>
        <c:axId val="537758240"/>
        <c:scaling>
          <c:orientation val="minMax"/>
          <c:max val="570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7756800"/>
        <c:crosses val="autoZero"/>
        <c:crossBetween val="between"/>
      </c:valAx>
      <c:valAx>
        <c:axId val="652731615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52729695"/>
        <c:crosses val="max"/>
        <c:crossBetween val="between"/>
      </c:valAx>
      <c:catAx>
        <c:axId val="65272969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5273161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59237CF-A5F0-4EA5-9411-D3AA55A241C8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3D87EB00-553C-4904-ACBC-0F35255516B9}">
      <dgm:prSet phldrT="[Text]" phldr="0"/>
      <dgm:spPr>
        <a:solidFill>
          <a:srgbClr val="00B0F0"/>
        </a:solidFill>
      </dgm:spPr>
      <dgm:t>
        <a:bodyPr/>
        <a:lstStyle/>
        <a:p>
          <a:pPr rtl="0"/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Bytové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družstvo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založené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developerem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či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již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existujícím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bytovým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družstvem</a:t>
          </a:r>
          <a:endParaRPr lang="en-US" dirty="0">
            <a:solidFill>
              <a:schemeClr val="bg2">
                <a:lumMod val="50000"/>
              </a:schemeClr>
            </a:solidFill>
          </a:endParaRPr>
        </a:p>
      </dgm:t>
    </dgm:pt>
    <dgm:pt modelId="{F4D9CA6B-D279-43F6-ABB9-0E0EF4C704B1}" type="parTrans" cxnId="{5AB9C275-1D7B-4A1E-867E-AB2AFF6CEDCE}">
      <dgm:prSet/>
      <dgm:spPr/>
      <dgm:t>
        <a:bodyPr/>
        <a:lstStyle/>
        <a:p>
          <a:endParaRPr lang="cs-CZ"/>
        </a:p>
      </dgm:t>
    </dgm:pt>
    <dgm:pt modelId="{439F0E87-7B99-4813-942E-6F9EC8F42237}" type="sibTrans" cxnId="{5AB9C275-1D7B-4A1E-867E-AB2AFF6CEDCE}">
      <dgm:prSet/>
      <dgm:spPr/>
      <dgm:t>
        <a:bodyPr/>
        <a:lstStyle/>
        <a:p>
          <a:endParaRPr lang="cs-CZ"/>
        </a:p>
      </dgm:t>
    </dgm:pt>
    <dgm:pt modelId="{C13125EA-BE38-4882-944F-4FDA8069162C}">
      <dgm:prSet phldrT="[Text]" phldr="0"/>
      <dgm:spPr>
        <a:solidFill>
          <a:srgbClr val="00B0F0"/>
        </a:solidFill>
      </dgm:spPr>
      <dgm:t>
        <a:bodyPr/>
        <a:lstStyle/>
        <a:p>
          <a:pPr rtl="0"/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Bytové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družstvo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s </a:t>
          </a:r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iniciační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dirty="0" err="1">
              <a:solidFill>
                <a:schemeClr val="bg2">
                  <a:lumMod val="50000"/>
                </a:schemeClr>
              </a:solidFill>
              <a:latin typeface="Sen ExtraBold"/>
            </a:rPr>
            <a:t>rolí</a:t>
          </a:r>
          <a:r>
            <a:rPr lang="en-US" dirty="0">
              <a:solidFill>
                <a:schemeClr val="bg2">
                  <a:lumMod val="50000"/>
                </a:schemeClr>
              </a:solidFill>
              <a:latin typeface="Sen ExtraBold"/>
            </a:rPr>
            <a:t> municipality</a:t>
          </a:r>
          <a:endParaRPr lang="en-US" dirty="0">
            <a:solidFill>
              <a:schemeClr val="bg2">
                <a:lumMod val="50000"/>
              </a:schemeClr>
            </a:solidFill>
          </a:endParaRPr>
        </a:p>
      </dgm:t>
    </dgm:pt>
    <dgm:pt modelId="{9E50A9FC-6595-4666-90AD-7AFA67494797}" type="parTrans" cxnId="{C061F1C2-F020-4D65-8BB0-82D361C24E51}">
      <dgm:prSet/>
      <dgm:spPr/>
      <dgm:t>
        <a:bodyPr/>
        <a:lstStyle/>
        <a:p>
          <a:endParaRPr lang="cs-CZ"/>
        </a:p>
      </dgm:t>
    </dgm:pt>
    <dgm:pt modelId="{BC83CBCD-2E38-4916-B021-6824BA31A381}" type="sibTrans" cxnId="{C061F1C2-F020-4D65-8BB0-82D361C24E51}">
      <dgm:prSet/>
      <dgm:spPr/>
      <dgm:t>
        <a:bodyPr/>
        <a:lstStyle/>
        <a:p>
          <a:endParaRPr lang="cs-CZ"/>
        </a:p>
      </dgm:t>
    </dgm:pt>
    <dgm:pt modelId="{9F68C2D9-0507-4919-A539-7C10E38059A6}">
      <dgm:prSet phldrT="[Text]" phldr="0" custT="1"/>
      <dgm:spPr>
        <a:solidFill>
          <a:srgbClr val="00B0F0"/>
        </a:solidFill>
      </dgm:spPr>
      <dgm:t>
        <a:bodyPr/>
        <a:lstStyle/>
        <a:p>
          <a:pPr rtl="0"/>
          <a:r>
            <a:rPr lang="pt-BR" sz="2200" dirty="0" err="1">
              <a:solidFill>
                <a:schemeClr val="bg2">
                  <a:lumMod val="50000"/>
                </a:schemeClr>
              </a:solidFill>
            </a:rPr>
            <a:t>Městské</a:t>
          </a:r>
          <a:r>
            <a:rPr lang="pt-BR" sz="2200" dirty="0">
              <a:solidFill>
                <a:schemeClr val="bg2">
                  <a:lumMod val="50000"/>
                </a:schemeClr>
              </a:solidFill>
            </a:rPr>
            <a:t> </a:t>
          </a:r>
          <a:r>
            <a:rPr lang="pt-BR" sz="2200" dirty="0" err="1">
              <a:solidFill>
                <a:schemeClr val="bg2">
                  <a:lumMod val="50000"/>
                </a:schemeClr>
              </a:solidFill>
            </a:rPr>
            <a:t>bytové</a:t>
          </a:r>
          <a:r>
            <a:rPr lang="pt-BR" sz="2200" dirty="0">
              <a:solidFill>
                <a:schemeClr val="bg2">
                  <a:lumMod val="50000"/>
                </a:schemeClr>
              </a:solidFill>
            </a:rPr>
            <a:t> </a:t>
          </a:r>
          <a:r>
            <a:rPr lang="pt-BR" sz="2200" dirty="0" err="1">
              <a:solidFill>
                <a:schemeClr val="bg2">
                  <a:lumMod val="50000"/>
                </a:schemeClr>
              </a:solidFill>
            </a:rPr>
            <a:t>družstvo</a:t>
          </a:r>
          <a:r>
            <a:rPr lang="pt-BR" sz="2200" dirty="0">
              <a:solidFill>
                <a:schemeClr val="bg2">
                  <a:lumMod val="50000"/>
                </a:schemeClr>
              </a:solidFill>
            </a:rPr>
            <a:t> </a:t>
          </a:r>
          <a:endParaRPr lang="en-US" sz="2200" dirty="0">
            <a:solidFill>
              <a:schemeClr val="bg2">
                <a:lumMod val="50000"/>
              </a:schemeClr>
            </a:solidFill>
          </a:endParaRPr>
        </a:p>
      </dgm:t>
    </dgm:pt>
    <dgm:pt modelId="{F2F9F78C-A084-4EE8-987B-FE40244C4F8E}" type="parTrans" cxnId="{0F952BC8-2F5D-4984-81C9-B963EF174CA5}">
      <dgm:prSet/>
      <dgm:spPr/>
      <dgm:t>
        <a:bodyPr/>
        <a:lstStyle/>
        <a:p>
          <a:endParaRPr lang="cs-CZ"/>
        </a:p>
      </dgm:t>
    </dgm:pt>
    <dgm:pt modelId="{8AB457D0-9DC7-4011-9D37-6034EF784065}" type="sibTrans" cxnId="{0F952BC8-2F5D-4984-81C9-B963EF174CA5}">
      <dgm:prSet/>
      <dgm:spPr/>
      <dgm:t>
        <a:bodyPr/>
        <a:lstStyle/>
        <a:p>
          <a:endParaRPr lang="cs-CZ"/>
        </a:p>
      </dgm:t>
    </dgm:pt>
    <dgm:pt modelId="{11C8945B-494C-4B7A-8943-0DA749A46D74}" type="pres">
      <dgm:prSet presAssocID="{459237CF-A5F0-4EA5-9411-D3AA55A241C8}" presName="CompostProcess" presStyleCnt="0">
        <dgm:presLayoutVars>
          <dgm:dir/>
          <dgm:resizeHandles val="exact"/>
        </dgm:presLayoutVars>
      </dgm:prSet>
      <dgm:spPr/>
    </dgm:pt>
    <dgm:pt modelId="{C9C51051-E4AE-4B45-A63D-401386A798D4}" type="pres">
      <dgm:prSet presAssocID="{459237CF-A5F0-4EA5-9411-D3AA55A241C8}" presName="arrow" presStyleLbl="bgShp" presStyleIdx="0" presStyleCnt="1" custLinFactNeighborX="5624" custLinFactNeighborY="3073"/>
      <dgm:spPr>
        <a:solidFill>
          <a:schemeClr val="tx2">
            <a:lumMod val="20000"/>
            <a:lumOff val="80000"/>
          </a:schemeClr>
        </a:solidFill>
        <a:ln>
          <a:solidFill>
            <a:schemeClr val="tx2">
              <a:lumMod val="40000"/>
              <a:lumOff val="60000"/>
            </a:schemeClr>
          </a:solidFill>
        </a:ln>
      </dgm:spPr>
    </dgm:pt>
    <dgm:pt modelId="{50CACF73-FD8D-4311-A551-DD2B8B00D795}" type="pres">
      <dgm:prSet presAssocID="{459237CF-A5F0-4EA5-9411-D3AA55A241C8}" presName="linearProcess" presStyleCnt="0"/>
      <dgm:spPr/>
    </dgm:pt>
    <dgm:pt modelId="{7454640C-0F1A-4804-8B74-C084A659DF07}" type="pres">
      <dgm:prSet presAssocID="{3D87EB00-553C-4904-ACBC-0F35255516B9}" presName="textNode" presStyleLbl="node1" presStyleIdx="0" presStyleCnt="3" custLinFactX="4354" custLinFactNeighborX="100000">
        <dgm:presLayoutVars>
          <dgm:bulletEnabled val="1"/>
        </dgm:presLayoutVars>
      </dgm:prSet>
      <dgm:spPr/>
    </dgm:pt>
    <dgm:pt modelId="{11CF6453-E02D-4067-B35F-367B91F59E64}" type="pres">
      <dgm:prSet presAssocID="{439F0E87-7B99-4813-942E-6F9EC8F42237}" presName="sibTrans" presStyleCnt="0"/>
      <dgm:spPr/>
    </dgm:pt>
    <dgm:pt modelId="{8CA7F196-0B76-4895-87A1-93AD771945E3}" type="pres">
      <dgm:prSet presAssocID="{C13125EA-BE38-4882-944F-4FDA8069162C}" presName="textNode" presStyleLbl="node1" presStyleIdx="1" presStyleCnt="3" custLinFactX="4354" custLinFactNeighborX="100000">
        <dgm:presLayoutVars>
          <dgm:bulletEnabled val="1"/>
        </dgm:presLayoutVars>
      </dgm:prSet>
      <dgm:spPr/>
    </dgm:pt>
    <dgm:pt modelId="{5746392B-A0C9-4F8D-8057-0B52E593F299}" type="pres">
      <dgm:prSet presAssocID="{BC83CBCD-2E38-4916-B021-6824BA31A381}" presName="sibTrans" presStyleCnt="0"/>
      <dgm:spPr/>
    </dgm:pt>
    <dgm:pt modelId="{590DE6F6-2FB3-49DF-8462-89393D5F91F3}" type="pres">
      <dgm:prSet presAssocID="{9F68C2D9-0507-4919-A539-7C10E38059A6}" presName="textNode" presStyleLbl="node1" presStyleIdx="2" presStyleCnt="3" custLinFactX="4354" custLinFactNeighborX="100000">
        <dgm:presLayoutVars>
          <dgm:bulletEnabled val="1"/>
        </dgm:presLayoutVars>
      </dgm:prSet>
      <dgm:spPr/>
    </dgm:pt>
  </dgm:ptLst>
  <dgm:cxnLst>
    <dgm:cxn modelId="{D178986D-F406-4D66-8E8C-22832A00A026}" type="presOf" srcId="{3D87EB00-553C-4904-ACBC-0F35255516B9}" destId="{7454640C-0F1A-4804-8B74-C084A659DF07}" srcOrd="0" destOrd="0" presId="urn:microsoft.com/office/officeart/2005/8/layout/hProcess9"/>
    <dgm:cxn modelId="{47F0E670-6C27-465E-86CD-391AF34BB155}" type="presOf" srcId="{9F68C2D9-0507-4919-A539-7C10E38059A6}" destId="{590DE6F6-2FB3-49DF-8462-89393D5F91F3}" srcOrd="0" destOrd="0" presId="urn:microsoft.com/office/officeart/2005/8/layout/hProcess9"/>
    <dgm:cxn modelId="{5AB9C275-1D7B-4A1E-867E-AB2AFF6CEDCE}" srcId="{459237CF-A5F0-4EA5-9411-D3AA55A241C8}" destId="{3D87EB00-553C-4904-ACBC-0F35255516B9}" srcOrd="0" destOrd="0" parTransId="{F4D9CA6B-D279-43F6-ABB9-0E0EF4C704B1}" sibTransId="{439F0E87-7B99-4813-942E-6F9EC8F42237}"/>
    <dgm:cxn modelId="{C061F1C2-F020-4D65-8BB0-82D361C24E51}" srcId="{459237CF-A5F0-4EA5-9411-D3AA55A241C8}" destId="{C13125EA-BE38-4882-944F-4FDA8069162C}" srcOrd="1" destOrd="0" parTransId="{9E50A9FC-6595-4666-90AD-7AFA67494797}" sibTransId="{BC83CBCD-2E38-4916-B021-6824BA31A381}"/>
    <dgm:cxn modelId="{0F952BC8-2F5D-4984-81C9-B963EF174CA5}" srcId="{459237CF-A5F0-4EA5-9411-D3AA55A241C8}" destId="{9F68C2D9-0507-4919-A539-7C10E38059A6}" srcOrd="2" destOrd="0" parTransId="{F2F9F78C-A084-4EE8-987B-FE40244C4F8E}" sibTransId="{8AB457D0-9DC7-4011-9D37-6034EF784065}"/>
    <dgm:cxn modelId="{221A1AE1-E2D3-4331-93EF-0532FE782C9C}" type="presOf" srcId="{C13125EA-BE38-4882-944F-4FDA8069162C}" destId="{8CA7F196-0B76-4895-87A1-93AD771945E3}" srcOrd="0" destOrd="0" presId="urn:microsoft.com/office/officeart/2005/8/layout/hProcess9"/>
    <dgm:cxn modelId="{CBA18CF1-8D57-4E96-8842-D8303264C990}" type="presOf" srcId="{459237CF-A5F0-4EA5-9411-D3AA55A241C8}" destId="{11C8945B-494C-4B7A-8943-0DA749A46D74}" srcOrd="0" destOrd="0" presId="urn:microsoft.com/office/officeart/2005/8/layout/hProcess9"/>
    <dgm:cxn modelId="{9A629F90-B9AF-4BC0-B7F5-7D400E2B6600}" type="presParOf" srcId="{11C8945B-494C-4B7A-8943-0DA749A46D74}" destId="{C9C51051-E4AE-4B45-A63D-401386A798D4}" srcOrd="0" destOrd="0" presId="urn:microsoft.com/office/officeart/2005/8/layout/hProcess9"/>
    <dgm:cxn modelId="{63BDF90C-5D72-492D-B867-723ECD014A95}" type="presParOf" srcId="{11C8945B-494C-4B7A-8943-0DA749A46D74}" destId="{50CACF73-FD8D-4311-A551-DD2B8B00D795}" srcOrd="1" destOrd="0" presId="urn:microsoft.com/office/officeart/2005/8/layout/hProcess9"/>
    <dgm:cxn modelId="{7BCE3078-AA86-463B-9558-5E11E1197020}" type="presParOf" srcId="{50CACF73-FD8D-4311-A551-DD2B8B00D795}" destId="{7454640C-0F1A-4804-8B74-C084A659DF07}" srcOrd="0" destOrd="0" presId="urn:microsoft.com/office/officeart/2005/8/layout/hProcess9"/>
    <dgm:cxn modelId="{9DB74783-B8C2-48C5-9D7A-72356DE91456}" type="presParOf" srcId="{50CACF73-FD8D-4311-A551-DD2B8B00D795}" destId="{11CF6453-E02D-4067-B35F-367B91F59E64}" srcOrd="1" destOrd="0" presId="urn:microsoft.com/office/officeart/2005/8/layout/hProcess9"/>
    <dgm:cxn modelId="{4B209EBD-7E23-4EEC-8BAC-97A73DF8CB01}" type="presParOf" srcId="{50CACF73-FD8D-4311-A551-DD2B8B00D795}" destId="{8CA7F196-0B76-4895-87A1-93AD771945E3}" srcOrd="2" destOrd="0" presId="urn:microsoft.com/office/officeart/2005/8/layout/hProcess9"/>
    <dgm:cxn modelId="{4B95A333-BF5B-4536-86B4-54EA87593036}" type="presParOf" srcId="{50CACF73-FD8D-4311-A551-DD2B8B00D795}" destId="{5746392B-A0C9-4F8D-8057-0B52E593F299}" srcOrd="3" destOrd="0" presId="urn:microsoft.com/office/officeart/2005/8/layout/hProcess9"/>
    <dgm:cxn modelId="{29666FC3-3054-4C5D-8981-25B3F1E6CE5F}" type="presParOf" srcId="{50CACF73-FD8D-4311-A551-DD2B8B00D795}" destId="{590DE6F6-2FB3-49DF-8462-89393D5F91F3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C51051-E4AE-4B45-A63D-401386A798D4}">
      <dsp:nvSpPr>
        <dsp:cNvPr id="0" name=""/>
        <dsp:cNvSpPr/>
      </dsp:nvSpPr>
      <dsp:spPr>
        <a:xfrm>
          <a:off x="973831" y="0"/>
          <a:ext cx="6740470" cy="5736955"/>
        </a:xfrm>
        <a:prstGeom prst="rightArrow">
          <a:avLst/>
        </a:prstGeom>
        <a:solidFill>
          <a:schemeClr val="tx2">
            <a:lumMod val="20000"/>
            <a:lumOff val="80000"/>
          </a:schemeClr>
        </a:solidFill>
        <a:ln>
          <a:solidFill>
            <a:schemeClr val="tx2">
              <a:lumMod val="40000"/>
              <a:lumOff val="60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54640C-0F1A-4804-8B74-C084A659DF07}">
      <dsp:nvSpPr>
        <dsp:cNvPr id="0" name=""/>
        <dsp:cNvSpPr/>
      </dsp:nvSpPr>
      <dsp:spPr>
        <a:xfrm>
          <a:off x="500079" y="1721086"/>
          <a:ext cx="2378989" cy="2294782"/>
        </a:xfrm>
        <a:prstGeom prst="roundRect">
          <a:avLst/>
        </a:prstGeom>
        <a:solidFill>
          <a:srgbClr val="00B0F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Bytové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družstvo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založené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developerem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či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již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existujícím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bytovým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družstvem</a:t>
          </a:r>
          <a:endParaRPr lang="en-US" sz="2200" kern="1200" dirty="0">
            <a:solidFill>
              <a:schemeClr val="bg2">
                <a:lumMod val="50000"/>
              </a:schemeClr>
            </a:solidFill>
          </a:endParaRPr>
        </a:p>
      </dsp:txBody>
      <dsp:txXfrm>
        <a:off x="612101" y="1833108"/>
        <a:ext cx="2154945" cy="2070738"/>
      </dsp:txXfrm>
    </dsp:sp>
    <dsp:sp modelId="{8CA7F196-0B76-4895-87A1-93AD771945E3}">
      <dsp:nvSpPr>
        <dsp:cNvPr id="0" name=""/>
        <dsp:cNvSpPr/>
      </dsp:nvSpPr>
      <dsp:spPr>
        <a:xfrm>
          <a:off x="3006846" y="1721086"/>
          <a:ext cx="2378989" cy="2294782"/>
        </a:xfrm>
        <a:prstGeom prst="roundRect">
          <a:avLst/>
        </a:prstGeom>
        <a:solidFill>
          <a:srgbClr val="00B0F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Bytové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družstvo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s </a:t>
          </a: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iniciační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</a:t>
          </a:r>
          <a:r>
            <a:rPr lang="en-US" sz="2200" kern="1200" dirty="0" err="1">
              <a:solidFill>
                <a:schemeClr val="bg2">
                  <a:lumMod val="50000"/>
                </a:schemeClr>
              </a:solidFill>
              <a:latin typeface="Sen ExtraBold"/>
            </a:rPr>
            <a:t>rolí</a:t>
          </a:r>
          <a:r>
            <a:rPr lang="en-US" sz="2200" kern="1200" dirty="0">
              <a:solidFill>
                <a:schemeClr val="bg2">
                  <a:lumMod val="50000"/>
                </a:schemeClr>
              </a:solidFill>
              <a:latin typeface="Sen ExtraBold"/>
            </a:rPr>
            <a:t> municipality</a:t>
          </a:r>
          <a:endParaRPr lang="en-US" sz="2200" kern="1200" dirty="0">
            <a:solidFill>
              <a:schemeClr val="bg2">
                <a:lumMod val="50000"/>
              </a:schemeClr>
            </a:solidFill>
          </a:endParaRPr>
        </a:p>
      </dsp:txBody>
      <dsp:txXfrm>
        <a:off x="3118868" y="1833108"/>
        <a:ext cx="2154945" cy="2070738"/>
      </dsp:txXfrm>
    </dsp:sp>
    <dsp:sp modelId="{590DE6F6-2FB3-49DF-8462-89393D5F91F3}">
      <dsp:nvSpPr>
        <dsp:cNvPr id="0" name=""/>
        <dsp:cNvSpPr/>
      </dsp:nvSpPr>
      <dsp:spPr>
        <a:xfrm>
          <a:off x="5513613" y="1721086"/>
          <a:ext cx="2378989" cy="2294782"/>
        </a:xfrm>
        <a:prstGeom prst="roundRect">
          <a:avLst/>
        </a:prstGeom>
        <a:solidFill>
          <a:srgbClr val="00B0F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 dirty="0" err="1">
              <a:solidFill>
                <a:schemeClr val="bg2">
                  <a:lumMod val="50000"/>
                </a:schemeClr>
              </a:solidFill>
            </a:rPr>
            <a:t>Městské</a:t>
          </a:r>
          <a:r>
            <a:rPr lang="pt-BR" sz="2200" kern="1200" dirty="0">
              <a:solidFill>
                <a:schemeClr val="bg2">
                  <a:lumMod val="50000"/>
                </a:schemeClr>
              </a:solidFill>
            </a:rPr>
            <a:t> </a:t>
          </a:r>
          <a:r>
            <a:rPr lang="pt-BR" sz="2200" kern="1200" dirty="0" err="1">
              <a:solidFill>
                <a:schemeClr val="bg2">
                  <a:lumMod val="50000"/>
                </a:schemeClr>
              </a:solidFill>
            </a:rPr>
            <a:t>bytové</a:t>
          </a:r>
          <a:r>
            <a:rPr lang="pt-BR" sz="2200" kern="1200" dirty="0">
              <a:solidFill>
                <a:schemeClr val="bg2">
                  <a:lumMod val="50000"/>
                </a:schemeClr>
              </a:solidFill>
            </a:rPr>
            <a:t> </a:t>
          </a:r>
          <a:r>
            <a:rPr lang="pt-BR" sz="2200" kern="1200" dirty="0" err="1">
              <a:solidFill>
                <a:schemeClr val="bg2">
                  <a:lumMod val="50000"/>
                </a:schemeClr>
              </a:solidFill>
            </a:rPr>
            <a:t>družstvo</a:t>
          </a:r>
          <a:r>
            <a:rPr lang="pt-BR" sz="2200" kern="1200" dirty="0">
              <a:solidFill>
                <a:schemeClr val="bg2">
                  <a:lumMod val="50000"/>
                </a:schemeClr>
              </a:solidFill>
            </a:rPr>
            <a:t> </a:t>
          </a:r>
          <a:endParaRPr lang="en-US" sz="2200" kern="1200" dirty="0">
            <a:solidFill>
              <a:schemeClr val="bg2">
                <a:lumMod val="50000"/>
              </a:schemeClr>
            </a:solidFill>
          </a:endParaRPr>
        </a:p>
      </dsp:txBody>
      <dsp:txXfrm>
        <a:off x="5625635" y="1833108"/>
        <a:ext cx="2154945" cy="20707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3476</cdr:x>
      <cdr:y>0.21852</cdr:y>
    </cdr:from>
    <cdr:to>
      <cdr:x>0.66692</cdr:x>
      <cdr:y>0.21852</cdr:y>
    </cdr:to>
    <cdr:cxnSp macro="">
      <cdr:nvCxnSpPr>
        <cdr:cNvPr id="3" name="Přímá spojnice 2">
          <a:extLst xmlns:a="http://schemas.openxmlformats.org/drawingml/2006/main">
            <a:ext uri="{FF2B5EF4-FFF2-40B4-BE49-F238E27FC236}">
              <a16:creationId xmlns:a16="http://schemas.microsoft.com/office/drawing/2014/main" id="{FDE7438F-69D8-7F21-2A09-C9BB37A771F1}"/>
            </a:ext>
          </a:extLst>
        </cdr:cNvPr>
        <cdr:cNvCxnSpPr/>
      </cdr:nvCxnSpPr>
      <cdr:spPr>
        <a:xfrm xmlns:a="http://schemas.openxmlformats.org/drawingml/2006/main">
          <a:off x="2273771" y="841634"/>
          <a:ext cx="2256090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356</cdr:x>
      <cdr:y>0.97734</cdr:y>
    </cdr:from>
    <cdr:to>
      <cdr:x>0.66776</cdr:x>
      <cdr:y>0.97734</cdr:y>
    </cdr:to>
    <cdr:cxnSp macro="">
      <cdr:nvCxnSpPr>
        <cdr:cNvPr id="5" name="Přímá spojnice 4">
          <a:extLst xmlns:a="http://schemas.openxmlformats.org/drawingml/2006/main">
            <a:ext uri="{FF2B5EF4-FFF2-40B4-BE49-F238E27FC236}">
              <a16:creationId xmlns:a16="http://schemas.microsoft.com/office/drawing/2014/main" id="{EFF11A51-3C0C-E1EB-F77C-32F43848A669}"/>
            </a:ext>
          </a:extLst>
        </cdr:cNvPr>
        <cdr:cNvCxnSpPr/>
      </cdr:nvCxnSpPr>
      <cdr:spPr>
        <a:xfrm xmlns:a="http://schemas.openxmlformats.org/drawingml/2006/main">
          <a:off x="2279499" y="3764295"/>
          <a:ext cx="2256090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69475D21-F733-CC14-630A-4BB326061D5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7FD32E4D-B7EC-9D42-D942-2798E72BA1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B6CE70-6311-43AC-945B-CAD0E64D6F28}" type="datetimeFigureOut">
              <a:rPr lang="en-GB" smtClean="0"/>
              <a:t>17/03/2026</a:t>
            </a:fld>
            <a:endParaRPr lang="en-GB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E976023-26D5-D113-AF7D-520F28F8EC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8C11B86D-A7A9-3559-0AA6-F86960C5AEA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145E4F-F331-4760-95DA-2ECB1D16316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65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8AA3E9-38C8-4CFA-8392-16F6F4E01287}" type="datetimeFigureOut">
              <a:rPr lang="cs-CZ" smtClean="0"/>
              <a:t>17.03.2026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74BCA3-3A8C-4C03-ABE8-022149749B7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3903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25B234D6-29F1-E38E-F5BD-BEDC08799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:notes">
            <a:extLst>
              <a:ext uri="{FF2B5EF4-FFF2-40B4-BE49-F238E27FC236}">
                <a16:creationId xmlns:a16="http://schemas.microsoft.com/office/drawing/2014/main" id="{A7DB2EF0-48D3-EBF3-2A63-E8FF0AFFD1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87" name="Google Shape;87;p3:notes">
            <a:extLst>
              <a:ext uri="{FF2B5EF4-FFF2-40B4-BE49-F238E27FC236}">
                <a16:creationId xmlns:a16="http://schemas.microsoft.com/office/drawing/2014/main" id="{9778000D-2285-64F1-C922-5CBC8E5DBF7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8" name="Google Shape;88;p3:notes">
            <a:extLst>
              <a:ext uri="{FF2B5EF4-FFF2-40B4-BE49-F238E27FC236}">
                <a16:creationId xmlns:a16="http://schemas.microsoft.com/office/drawing/2014/main" id="{03B74FAD-EAEB-463E-EC7D-45FF062CB85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5119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74BCA3-3A8C-4C03-ABE8-022149749B73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5578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C1995E-79AE-3AA0-A2A1-97DE776AE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9E99E5DD-2BE5-4890-764B-8BF96356D8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940216D0-460C-99A0-1C24-551D682F29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7C7BA24-BD76-9208-9332-837D0C315C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E50E3-E679-4422-B275-5AAEAB47005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4604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8F81CE-D95C-5477-7CEB-EF8E6307BF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E4E90218-A806-35AD-7A2A-C1B58C2631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BB5C4B29-F752-F823-4FDD-F73572CA07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2203BD2-0BE7-DEB3-2820-E250FFBA1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E50E3-E679-4422-B275-5AAEAB47005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2729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9BAD3BCE-8E2D-69E3-8368-9238450BFB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:notes">
            <a:extLst>
              <a:ext uri="{FF2B5EF4-FFF2-40B4-BE49-F238E27FC236}">
                <a16:creationId xmlns:a16="http://schemas.microsoft.com/office/drawing/2014/main" id="{305882CA-F11E-1813-AAFA-6107C5AE1B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87" name="Google Shape;87;p3:notes">
            <a:extLst>
              <a:ext uri="{FF2B5EF4-FFF2-40B4-BE49-F238E27FC236}">
                <a16:creationId xmlns:a16="http://schemas.microsoft.com/office/drawing/2014/main" id="{CA0CE814-7722-F118-BA49-747DEB111EB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8" name="Google Shape;88;p3:notes">
            <a:extLst>
              <a:ext uri="{FF2B5EF4-FFF2-40B4-BE49-F238E27FC236}">
                <a16:creationId xmlns:a16="http://schemas.microsoft.com/office/drawing/2014/main" id="{6BC799CF-6E92-6AC0-28E0-3F76F8EAA6E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177219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2DADCEAD-E570-7A19-72C6-D46E8D623C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:notes">
            <a:extLst>
              <a:ext uri="{FF2B5EF4-FFF2-40B4-BE49-F238E27FC236}">
                <a16:creationId xmlns:a16="http://schemas.microsoft.com/office/drawing/2014/main" id="{4916764D-FE29-2AFD-718E-A0103F5A43F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87" name="Google Shape;87;p3:notes">
            <a:extLst>
              <a:ext uri="{FF2B5EF4-FFF2-40B4-BE49-F238E27FC236}">
                <a16:creationId xmlns:a16="http://schemas.microsoft.com/office/drawing/2014/main" id="{3BEE6FFA-8765-9297-5991-35718BF1BFB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8" name="Google Shape;88;p3:notes">
            <a:extLst>
              <a:ext uri="{FF2B5EF4-FFF2-40B4-BE49-F238E27FC236}">
                <a16:creationId xmlns:a16="http://schemas.microsoft.com/office/drawing/2014/main" id="{7661F67D-A46E-1281-284B-EC12728BE79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3626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1">
          <a:extLst>
            <a:ext uri="{FF2B5EF4-FFF2-40B4-BE49-F238E27FC236}">
              <a16:creationId xmlns:a16="http://schemas.microsoft.com/office/drawing/2014/main" id="{D50146A8-3063-0365-58F6-77A2A93F74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Google Shape;672;p27:notes">
            <a:extLst>
              <a:ext uri="{FF2B5EF4-FFF2-40B4-BE49-F238E27FC236}">
                <a16:creationId xmlns:a16="http://schemas.microsoft.com/office/drawing/2014/main" id="{ADE7FCAF-96E5-BA86-DF2D-74751AB366D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673" name="Google Shape;673;p27:notes">
            <a:extLst>
              <a:ext uri="{FF2B5EF4-FFF2-40B4-BE49-F238E27FC236}">
                <a16:creationId xmlns:a16="http://schemas.microsoft.com/office/drawing/2014/main" id="{2ED4BFF5-E186-6924-A357-5B2A736BA8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74" name="Google Shape;674;p27:notes">
            <a:extLst>
              <a:ext uri="{FF2B5EF4-FFF2-40B4-BE49-F238E27FC236}">
                <a16:creationId xmlns:a16="http://schemas.microsoft.com/office/drawing/2014/main" id="{430141EE-8CEA-108A-F566-5F84AF11F93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47730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>
          <a:extLst>
            <a:ext uri="{FF2B5EF4-FFF2-40B4-BE49-F238E27FC236}">
              <a16:creationId xmlns:a16="http://schemas.microsoft.com/office/drawing/2014/main" id="{80F4A9C7-838F-D7AC-0C3A-B81256541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4:notes">
            <a:extLst>
              <a:ext uri="{FF2B5EF4-FFF2-40B4-BE49-F238E27FC236}">
                <a16:creationId xmlns:a16="http://schemas.microsoft.com/office/drawing/2014/main" id="{CCC9D52B-965B-9B61-F7EE-CB9BA6BDB3E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00" name="Google Shape;100;p4:notes">
            <a:extLst>
              <a:ext uri="{FF2B5EF4-FFF2-40B4-BE49-F238E27FC236}">
                <a16:creationId xmlns:a16="http://schemas.microsoft.com/office/drawing/2014/main" id="{57C8FB2A-9489-9312-0938-141357EE5C2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t" anchorCtr="0">
            <a:noAutofit/>
          </a:bodyPr>
          <a:lstStyle/>
          <a:p>
            <a:endParaRPr lang="cs-CZ" dirty="0"/>
          </a:p>
        </p:txBody>
      </p:sp>
      <p:sp>
        <p:nvSpPr>
          <p:cNvPr id="101" name="Google Shape;101;p4:notes">
            <a:extLst>
              <a:ext uri="{FF2B5EF4-FFF2-40B4-BE49-F238E27FC236}">
                <a16:creationId xmlns:a16="http://schemas.microsoft.com/office/drawing/2014/main" id="{F037F081-7552-D041-82A4-F2624778ABC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5" tIns="49500" rIns="99025" bIns="495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47874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ul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35401-AA4F-CC3A-88C3-C9BFF17765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2200" y="3685114"/>
            <a:ext cx="9144000" cy="70114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25ADFD-06EF-458C-04AC-9B0BBF5A11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92200" y="4478338"/>
            <a:ext cx="9144000" cy="307777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8920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BC2A9C-EE36-5FD3-94B2-47588AB92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92E5EC-E468-7E6D-D925-CA9C7677EE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2BC7BE-40E9-83E7-1DC6-C051AAC68E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244D0-8AA4-4057-A9AB-8E7DA1DB517A}" type="datetimeFigureOut">
              <a:rPr lang="en-GB" smtClean="0"/>
              <a:t>17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C56EB7-3890-8556-03AE-C55013748B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9683CA-0D7F-3B00-19FD-AD08A0644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5953E-8E28-4C39-9CBE-E288875F01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6845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ředělový snímek">
    <p:bg>
      <p:bgPr>
        <a:gradFill flip="none" rotWithShape="1">
          <a:gsLst>
            <a:gs pos="0">
              <a:srgbClr val="14A0C1"/>
            </a:gs>
            <a:gs pos="100000">
              <a:srgbClr val="56BFE9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35401-AA4F-CC3A-88C3-C9BFF17765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2200" y="3685114"/>
            <a:ext cx="9144000" cy="701149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25ADFD-06EF-458C-04AC-9B0BBF5A11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92200" y="4478338"/>
            <a:ext cx="9144000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820959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814954-741F-C3DF-7A92-38451F179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D01D9-A257-BA63-DCA9-B8755AE651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5325" y="1304924"/>
            <a:ext cx="5181600" cy="49688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24DAF1-504D-2BA4-1ED3-618CB652B0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4" y="1304924"/>
            <a:ext cx="5181600" cy="49688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3E74B6-EAB7-7629-EAFA-E30B8C2D73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244D0-8AA4-4057-A9AB-8E7DA1DB517A}" type="datetimeFigureOut">
              <a:rPr lang="en-GB" smtClean="0"/>
              <a:t>17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65C847-B5C3-4F32-1AB5-9F0BC0FD0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77BD83-FC02-FF94-9E92-6D9CD084AB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5953E-8E28-4C39-9CBE-E288875F01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336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C3A67-6485-0B07-4785-607B0715C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23ED1D-5063-5A7D-7734-0E7B86A46F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244D0-8AA4-4057-A9AB-8E7DA1DB517A}" type="datetimeFigureOut">
              <a:rPr lang="en-GB" smtClean="0"/>
              <a:t>17/03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332956-DE29-4293-F019-BAAB29BA0F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197057-E7C4-0B11-A460-D91D6B8D1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5953E-8E28-4C39-9CBE-E288875F01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1391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BFC66-4E6D-DA0C-FC7B-0CD59038A1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244D0-8AA4-4057-A9AB-8E7DA1DB517A}" type="datetimeFigureOut">
              <a:rPr lang="en-GB" smtClean="0"/>
              <a:t>17/03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F2445C-681E-395B-7748-08D8E2C53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D3C45D-9A7A-01F7-64F3-554ECA9DF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5953E-8E28-4C39-9CBE-E288875F01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36404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087F3C0-9450-4145-9381-8FBE649A7B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B8C8B8-5A93-4F71-AFA1-D0B0448470A4}" type="datetime1">
              <a:rPr lang="cs-CZ" smtClean="0"/>
              <a:t>17.03.2026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B81C83F1-7752-44E3-944A-AAAFE27901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69EF5C5-E8D8-4372-8E11-37EFD1B3D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F18277-6857-4695-90D2-86135211B3C9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38F7DA24-5792-4AFF-B870-E931D0570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56131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Jenom nadpis- bila">
  <p:cSld name="1_Jenom nadpis- bila">
    <p:bg>
      <p:bgPr>
        <a:solidFill>
          <a:schemeClr val="lt1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1"/>
          <p:cNvSpPr txBox="1">
            <a:spLocks noGrp="1"/>
          </p:cNvSpPr>
          <p:nvPr>
            <p:ph type="dt" idx="10"/>
          </p:nvPr>
        </p:nvSpPr>
        <p:spPr>
          <a:xfrm>
            <a:off x="5811838" y="6461967"/>
            <a:ext cx="2743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31"/>
          <p:cNvSpPr txBox="1">
            <a:spLocks noGrp="1"/>
          </p:cNvSpPr>
          <p:nvPr>
            <p:ph type="ftr" idx="11"/>
          </p:nvPr>
        </p:nvSpPr>
        <p:spPr>
          <a:xfrm>
            <a:off x="695325" y="6461967"/>
            <a:ext cx="4918075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1"/>
          <p:cNvSpPr txBox="1">
            <a:spLocks noGrp="1"/>
          </p:cNvSpPr>
          <p:nvPr>
            <p:ph type="sldNum" idx="12"/>
          </p:nvPr>
        </p:nvSpPr>
        <p:spPr>
          <a:xfrm>
            <a:off x="8753475" y="6461967"/>
            <a:ext cx="2743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/>
              <a:t>‹#›</a:t>
            </a:fld>
            <a:endParaRPr/>
          </a:p>
        </p:txBody>
      </p:sp>
      <p:sp>
        <p:nvSpPr>
          <p:cNvPr id="29" name="Google Shape;29;p31"/>
          <p:cNvSpPr txBox="1">
            <a:spLocks noGrp="1"/>
          </p:cNvSpPr>
          <p:nvPr>
            <p:ph type="title"/>
          </p:nvPr>
        </p:nvSpPr>
        <p:spPr>
          <a:xfrm>
            <a:off x="695324" y="546045"/>
            <a:ext cx="10801351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7016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Jenom nadpis">
    <p:bg>
      <p:bgPr>
        <a:solidFill>
          <a:srgbClr val="F5FA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087F3C0-9450-4145-9381-8FBE649A7B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A425D-662D-48C1-957A-942C1796BDBD}" type="datetime1">
              <a:rPr lang="cs-CZ" smtClean="0"/>
              <a:t>17.03.2026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B81C83F1-7752-44E3-944A-AAAFE27901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69EF5C5-E8D8-4372-8E11-37EFD1B3D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F18277-6857-4695-90D2-86135211B3C9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38F7DA24-5792-4AFF-B870-E931D0570A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835" y="859312"/>
            <a:ext cx="8135880" cy="498598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57500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A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FE48A53-11F3-F515-0AC2-CD8A20A4B0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19095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84" imgH="486" progId="TCLayout.ActiveDocument.1">
                  <p:embed/>
                </p:oleObj>
              </mc:Choice>
              <mc:Fallback>
                <p:oleObj name="think-cell Slide" r:id="rId12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E48A53-11F3-F515-0AC2-CD8A20A4B0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B639A27-4A4E-E4CB-E002-B7C8C8FF17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51661"/>
            <a:ext cx="10801350" cy="534950"/>
          </a:xfrm>
          <a:prstGeom prst="rect">
            <a:avLst/>
          </a:prstGeom>
        </p:spPr>
        <p:txBody>
          <a:bodyPr vert="horz" lIns="0" tIns="0" rIns="0" bIns="36000" rtlCol="0" anchor="t"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80C3AA-0EAE-7714-5470-A99E760708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5" y="1304924"/>
            <a:ext cx="10801350" cy="49688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495A7-AB89-EE1E-780F-BF94819BE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40800" y="6496649"/>
            <a:ext cx="1295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1E6244D0-8AA4-4057-A9AB-8E7DA1DB517A}" type="datetimeFigureOut">
              <a:rPr lang="en-GB" smtClean="0"/>
              <a:pPr/>
              <a:t>17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A9C25D-7086-64C5-7EB7-1640C1B5D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325" y="6496649"/>
            <a:ext cx="41148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DA8331-3058-3F51-12CF-06A2C98436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26699" y="6496649"/>
            <a:ext cx="1069975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54E5953E-8E28-4C39-9CBE-E288875F01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904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8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324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Sen" pitchFamily="2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438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90C7798B-66D6-036B-489C-DE67966E9E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5139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897A753B-70EB-6DF6-5055-2040C9B50D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1;p3">
            <a:extLst>
              <a:ext uri="{FF2B5EF4-FFF2-40B4-BE49-F238E27FC236}">
                <a16:creationId xmlns:a16="http://schemas.microsoft.com/office/drawing/2014/main" id="{A32FC99C-BDE2-D1B1-ED47-BCB343F9D509}"/>
              </a:ext>
            </a:extLst>
          </p:cNvPr>
          <p:cNvSpPr txBox="1"/>
          <p:nvPr/>
        </p:nvSpPr>
        <p:spPr>
          <a:xfrm>
            <a:off x="695325" y="986611"/>
            <a:ext cx="5869256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cs-CZ" sz="3000" cap="all" dirty="0">
                <a:solidFill>
                  <a:schemeClr val="accent1"/>
                </a:solidFill>
                <a:cs typeface="Arial"/>
                <a:sym typeface="Arial"/>
              </a:rPr>
              <a:t>4. ročník soutěže ČSOB </a:t>
            </a:r>
          </a:p>
          <a:p>
            <a:r>
              <a:rPr lang="cs-CZ" sz="3000" cap="all" dirty="0">
                <a:solidFill>
                  <a:schemeClr val="accent1"/>
                </a:solidFill>
                <a:cs typeface="Arial"/>
                <a:sym typeface="Arial"/>
              </a:rPr>
              <a:t>na podporu rozvoje municipalit</a:t>
            </a:r>
            <a:endParaRPr lang="en-US" sz="3000" cap="all" dirty="0">
              <a:solidFill>
                <a:schemeClr val="accent1"/>
              </a:solidFill>
            </a:endParaRPr>
          </a:p>
        </p:txBody>
      </p:sp>
      <p:pic>
        <p:nvPicPr>
          <p:cNvPr id="3" name="Picture 2" descr="Zelena_obec_roku_2026-logo-RGB.png">
            <a:extLst>
              <a:ext uri="{FF2B5EF4-FFF2-40B4-BE49-F238E27FC236}">
                <a16:creationId xmlns:a16="http://schemas.microsoft.com/office/drawing/2014/main" id="{4ECE8410-B874-A3B5-5468-CD71A968F0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3593" y="0"/>
            <a:ext cx="1727878" cy="1768761"/>
          </a:xfrm>
          <a:prstGeom prst="rect">
            <a:avLst/>
          </a:prstGeom>
        </p:spPr>
      </p:pic>
      <p:sp>
        <p:nvSpPr>
          <p:cNvPr id="4" name="Nadpis 3">
            <a:extLst>
              <a:ext uri="{FF2B5EF4-FFF2-40B4-BE49-F238E27FC236}">
                <a16:creationId xmlns:a16="http://schemas.microsoft.com/office/drawing/2014/main" id="{BF953D41-5AF8-5E39-C9CF-921436730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chemeClr val="accent1">
                    <a:lumMod val="50000"/>
                  </a:schemeClr>
                </a:solidFill>
              </a:rPr>
              <a:t>Zelená obec roku 2026</a:t>
            </a:r>
          </a:p>
        </p:txBody>
      </p:sp>
      <p:pic>
        <p:nvPicPr>
          <p:cNvPr id="2" name="Picture 1" descr="Green Point.png">
            <a:extLst>
              <a:ext uri="{FF2B5EF4-FFF2-40B4-BE49-F238E27FC236}">
                <a16:creationId xmlns:a16="http://schemas.microsoft.com/office/drawing/2014/main" id="{F1253E3F-34F5-FE37-16BB-2B0579FB329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7106" t="7770" r="3892" b="7770"/>
          <a:stretch>
            <a:fillRect/>
          </a:stretch>
        </p:blipFill>
        <p:spPr>
          <a:xfrm>
            <a:off x="6459435" y="638882"/>
            <a:ext cx="6912196" cy="6635255"/>
          </a:xfrm>
          <a:prstGeom prst="rect">
            <a:avLst/>
          </a:prstGeom>
        </p:spPr>
      </p:pic>
      <p:sp>
        <p:nvSpPr>
          <p:cNvPr id="16" name="Obdélník: se zakulacenými rohy 15">
            <a:extLst>
              <a:ext uri="{FF2B5EF4-FFF2-40B4-BE49-F238E27FC236}">
                <a16:creationId xmlns:a16="http://schemas.microsoft.com/office/drawing/2014/main" id="{4EF03E20-5016-7D57-4873-9BF267E4B886}"/>
              </a:ext>
            </a:extLst>
          </p:cNvPr>
          <p:cNvSpPr/>
          <p:nvPr/>
        </p:nvSpPr>
        <p:spPr>
          <a:xfrm>
            <a:off x="721520" y="5157429"/>
            <a:ext cx="3680409" cy="635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dirty="0"/>
              <a:t>Hlavní cena 300 000 Kč</a:t>
            </a:r>
          </a:p>
        </p:txBody>
      </p:sp>
      <p:sp>
        <p:nvSpPr>
          <p:cNvPr id="17" name="TextovéPole 6">
            <a:extLst>
              <a:ext uri="{FF2B5EF4-FFF2-40B4-BE49-F238E27FC236}">
                <a16:creationId xmlns:a16="http://schemas.microsoft.com/office/drawing/2014/main" id="{0B9718A1-A5AA-5B86-0212-A26B8ACFA4B6}"/>
              </a:ext>
            </a:extLst>
          </p:cNvPr>
          <p:cNvSpPr txBox="1"/>
          <p:nvPr/>
        </p:nvSpPr>
        <p:spPr>
          <a:xfrm>
            <a:off x="985516" y="2593714"/>
            <a:ext cx="5978871" cy="30777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cs-CZ" sz="2000" noProof="0" dirty="0">
                <a:solidFill>
                  <a:schemeClr val="tx1">
                    <a:lumMod val="49000"/>
                  </a:schemeClr>
                </a:solidFill>
                <a:latin typeface="Sen"/>
                <a:ea typeface="Source Sans Pro"/>
              </a:rPr>
              <a:t>Oceňujeme obce s odpovědným přístupem</a:t>
            </a:r>
          </a:p>
        </p:txBody>
      </p:sp>
      <p:sp>
        <p:nvSpPr>
          <p:cNvPr id="18" name="TextovéPole 21">
            <a:extLst>
              <a:ext uri="{FF2B5EF4-FFF2-40B4-BE49-F238E27FC236}">
                <a16:creationId xmlns:a16="http://schemas.microsoft.com/office/drawing/2014/main" id="{751E0404-50F2-198D-CE78-7CBE6E89F7B2}"/>
              </a:ext>
            </a:extLst>
          </p:cNvPr>
          <p:cNvSpPr txBox="1"/>
          <p:nvPr/>
        </p:nvSpPr>
        <p:spPr>
          <a:xfrm>
            <a:off x="988701" y="3193034"/>
            <a:ext cx="6240052" cy="30777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800"/>
              </a:spcAft>
            </a:pPr>
            <a:r>
              <a:rPr lang="cs-CZ" sz="2000" noProof="0" dirty="0">
                <a:solidFill>
                  <a:schemeClr val="tx1">
                    <a:lumMod val="49000"/>
                  </a:schemeClr>
                </a:solidFill>
              </a:rPr>
              <a:t>Sdílíme inspirativní projekty mezi obcemi</a:t>
            </a:r>
          </a:p>
        </p:txBody>
      </p:sp>
      <p:sp>
        <p:nvSpPr>
          <p:cNvPr id="19" name="TextovéPole 21">
            <a:extLst>
              <a:ext uri="{FF2B5EF4-FFF2-40B4-BE49-F238E27FC236}">
                <a16:creationId xmlns:a16="http://schemas.microsoft.com/office/drawing/2014/main" id="{5D695982-E122-1B80-1B46-AEE275484CD4}"/>
              </a:ext>
            </a:extLst>
          </p:cNvPr>
          <p:cNvSpPr txBox="1"/>
          <p:nvPr/>
        </p:nvSpPr>
        <p:spPr>
          <a:xfrm>
            <a:off x="985516" y="3792354"/>
            <a:ext cx="4747051" cy="30777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800"/>
              </a:spcAft>
            </a:pPr>
            <a:r>
              <a:rPr lang="cs-CZ" sz="2000" dirty="0">
                <a:solidFill>
                  <a:schemeClr val="tx1">
                    <a:lumMod val="49000"/>
                  </a:schemeClr>
                </a:solidFill>
              </a:rPr>
              <a:t>Podporujeme </a:t>
            </a:r>
            <a:r>
              <a:rPr lang="cs-CZ" sz="2000" noProof="0" dirty="0">
                <a:solidFill>
                  <a:schemeClr val="tx1">
                    <a:lumMod val="49000"/>
                  </a:schemeClr>
                </a:solidFill>
              </a:rPr>
              <a:t>další rozvoj obcí  </a:t>
            </a:r>
            <a:endParaRPr lang="cs-CZ" sz="2000" noProof="0" dirty="0">
              <a:solidFill>
                <a:schemeClr val="accent1">
                  <a:lumMod val="76000"/>
                </a:schemeClr>
              </a:solidFill>
            </a:endParaRPr>
          </a:p>
        </p:txBody>
      </p:sp>
      <p:sp>
        <p:nvSpPr>
          <p:cNvPr id="31" name="TextovéPole 21">
            <a:extLst>
              <a:ext uri="{FF2B5EF4-FFF2-40B4-BE49-F238E27FC236}">
                <a16:creationId xmlns:a16="http://schemas.microsoft.com/office/drawing/2014/main" id="{6EB189CF-7E01-E683-18D7-2F1A41BF770C}"/>
              </a:ext>
            </a:extLst>
          </p:cNvPr>
          <p:cNvSpPr txBox="1"/>
          <p:nvPr/>
        </p:nvSpPr>
        <p:spPr>
          <a:xfrm>
            <a:off x="1148652" y="6135612"/>
            <a:ext cx="4747051" cy="30777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800"/>
              </a:spcAft>
            </a:pPr>
            <a:r>
              <a:rPr lang="cs-CZ" sz="2000" noProof="0" dirty="0">
                <a:solidFill>
                  <a:schemeClr val="accent1">
                    <a:lumMod val="75000"/>
                  </a:schemeClr>
                </a:solidFill>
              </a:rPr>
              <a:t>Přihlášky do 29. 3. 2026.</a:t>
            </a:r>
          </a:p>
        </p:txBody>
      </p:sp>
      <p:sp>
        <p:nvSpPr>
          <p:cNvPr id="34" name="TextovéPole 21">
            <a:extLst>
              <a:ext uri="{FF2B5EF4-FFF2-40B4-BE49-F238E27FC236}">
                <a16:creationId xmlns:a16="http://schemas.microsoft.com/office/drawing/2014/main" id="{7559D5C8-0F10-BF9A-F52F-A0DF7093C076}"/>
              </a:ext>
            </a:extLst>
          </p:cNvPr>
          <p:cNvSpPr txBox="1"/>
          <p:nvPr/>
        </p:nvSpPr>
        <p:spPr>
          <a:xfrm>
            <a:off x="985514" y="4391674"/>
            <a:ext cx="5042061" cy="30777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800"/>
              </a:spcAft>
            </a:pPr>
            <a:r>
              <a:rPr lang="cs-CZ" sz="2000" noProof="0" dirty="0">
                <a:solidFill>
                  <a:schemeClr val="tx1">
                    <a:lumMod val="49000"/>
                  </a:schemeClr>
                </a:solidFill>
              </a:rPr>
              <a:t>Záštita Ministerstva pro místní rozvoj ČR</a:t>
            </a:r>
            <a:endParaRPr lang="cs-CZ" sz="2000" noProof="0" dirty="0">
              <a:solidFill>
                <a:schemeClr val="accent1">
                  <a:lumMod val="76000"/>
                </a:schemeClr>
              </a:solidFill>
            </a:endParaRPr>
          </a:p>
        </p:txBody>
      </p:sp>
      <p:sp>
        <p:nvSpPr>
          <p:cNvPr id="35" name="Ovál 34">
            <a:extLst>
              <a:ext uri="{FF2B5EF4-FFF2-40B4-BE49-F238E27FC236}">
                <a16:creationId xmlns:a16="http://schemas.microsoft.com/office/drawing/2014/main" id="{0BE79FD7-B8A5-9B2C-6A8A-1DDDF712CB4C}"/>
              </a:ext>
            </a:extLst>
          </p:cNvPr>
          <p:cNvSpPr/>
          <p:nvPr/>
        </p:nvSpPr>
        <p:spPr>
          <a:xfrm>
            <a:off x="721520" y="4478992"/>
            <a:ext cx="133139" cy="13313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000" dirty="0" err="1"/>
          </a:p>
        </p:txBody>
      </p:sp>
      <p:sp>
        <p:nvSpPr>
          <p:cNvPr id="36" name="Ovál 35">
            <a:extLst>
              <a:ext uri="{FF2B5EF4-FFF2-40B4-BE49-F238E27FC236}">
                <a16:creationId xmlns:a16="http://schemas.microsoft.com/office/drawing/2014/main" id="{004C0802-DEE4-B2A4-5CF1-411435BCAF90}"/>
              </a:ext>
            </a:extLst>
          </p:cNvPr>
          <p:cNvSpPr/>
          <p:nvPr/>
        </p:nvSpPr>
        <p:spPr>
          <a:xfrm>
            <a:off x="721521" y="3879672"/>
            <a:ext cx="133139" cy="13313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000" dirty="0" err="1"/>
          </a:p>
        </p:txBody>
      </p:sp>
      <p:sp>
        <p:nvSpPr>
          <p:cNvPr id="37" name="Ovál 36">
            <a:extLst>
              <a:ext uri="{FF2B5EF4-FFF2-40B4-BE49-F238E27FC236}">
                <a16:creationId xmlns:a16="http://schemas.microsoft.com/office/drawing/2014/main" id="{53FE0FD2-F127-DBDA-A97F-342ED1E6BD58}"/>
              </a:ext>
            </a:extLst>
          </p:cNvPr>
          <p:cNvSpPr/>
          <p:nvPr/>
        </p:nvSpPr>
        <p:spPr>
          <a:xfrm>
            <a:off x="721521" y="3280352"/>
            <a:ext cx="133139" cy="13313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000" dirty="0" err="1"/>
          </a:p>
        </p:txBody>
      </p:sp>
      <p:sp>
        <p:nvSpPr>
          <p:cNvPr id="38" name="Ovál 37">
            <a:extLst>
              <a:ext uri="{FF2B5EF4-FFF2-40B4-BE49-F238E27FC236}">
                <a16:creationId xmlns:a16="http://schemas.microsoft.com/office/drawing/2014/main" id="{3BE84FC3-338D-58CD-7853-3E4C3E3E138E}"/>
              </a:ext>
            </a:extLst>
          </p:cNvPr>
          <p:cNvSpPr/>
          <p:nvPr/>
        </p:nvSpPr>
        <p:spPr>
          <a:xfrm>
            <a:off x="721521" y="2681032"/>
            <a:ext cx="133139" cy="13313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000" dirty="0" err="1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A251A095-A289-E95B-921C-58752E8FFBB2}"/>
              </a:ext>
            </a:extLst>
          </p:cNvPr>
          <p:cNvSpPr txBox="1"/>
          <p:nvPr/>
        </p:nvSpPr>
        <p:spPr>
          <a:xfrm>
            <a:off x="3505200" y="3275111"/>
            <a:ext cx="51816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Clr>
                <a:schemeClr val="bg2"/>
              </a:buClr>
            </a:pP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142433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5">
          <a:extLst>
            <a:ext uri="{FF2B5EF4-FFF2-40B4-BE49-F238E27FC236}">
              <a16:creationId xmlns:a16="http://schemas.microsoft.com/office/drawing/2014/main" id="{C2F53426-A7D6-A3AA-31A5-619765EE08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90;p3">
            <a:extLst>
              <a:ext uri="{FF2B5EF4-FFF2-40B4-BE49-F238E27FC236}">
                <a16:creationId xmlns:a16="http://schemas.microsoft.com/office/drawing/2014/main" id="{EABC961E-442C-EE26-4486-293898FA107F}"/>
              </a:ext>
            </a:extLst>
          </p:cNvPr>
          <p:cNvSpPr txBox="1"/>
          <p:nvPr/>
        </p:nvSpPr>
        <p:spPr>
          <a:xfrm>
            <a:off x="7764236" y="1647539"/>
            <a:ext cx="4800601" cy="14957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  <a:buClr>
                <a:schemeClr val="dk2"/>
              </a:buClr>
              <a:buSzPts val="4400"/>
            </a:pPr>
            <a:r>
              <a:rPr lang="cs-CZ" sz="5400" b="1" dirty="0">
                <a:solidFill>
                  <a:schemeClr val="dk2"/>
                </a:solidFill>
                <a:latin typeface="+mj-lt"/>
                <a:ea typeface="Arial"/>
                <a:cs typeface="Arial"/>
                <a:sym typeface="Arial"/>
              </a:rPr>
              <a:t>EXPERT</a:t>
            </a:r>
            <a:endParaRPr lang="en-US" dirty="0">
              <a:solidFill>
                <a:schemeClr val="dk2"/>
              </a:solidFill>
              <a:sym typeface="Arial"/>
            </a:endParaRPr>
          </a:p>
          <a:p>
            <a:pPr>
              <a:lnSpc>
                <a:spcPct val="90000"/>
              </a:lnSpc>
              <a:buSzPts val="4400"/>
            </a:pPr>
            <a:r>
              <a:rPr lang="cs-CZ" sz="5400" b="1" i="0" u="none" strike="noStrike" cap="none" dirty="0">
                <a:solidFill>
                  <a:schemeClr val="bg2"/>
                </a:solidFill>
                <a:latin typeface="+mj-lt"/>
                <a:ea typeface="Arial"/>
                <a:cs typeface="Arial"/>
                <a:sym typeface="Arial"/>
              </a:rPr>
              <a:t>NA BYDLENÍ</a:t>
            </a:r>
            <a:endParaRPr lang="cs-CZ" dirty="0">
              <a:solidFill>
                <a:schemeClr val="bg2"/>
              </a:solidFill>
            </a:endParaRPr>
          </a:p>
        </p:txBody>
      </p:sp>
      <p:pic>
        <p:nvPicPr>
          <p:cNvPr id="10" name="Grafický objekt 9">
            <a:extLst>
              <a:ext uri="{FF2B5EF4-FFF2-40B4-BE49-F238E27FC236}">
                <a16:creationId xmlns:a16="http://schemas.microsoft.com/office/drawing/2014/main" id="{D5EE9335-F0E6-28FA-5A12-5585E79256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5146" y="1782787"/>
            <a:ext cx="1570756" cy="1225298"/>
          </a:xfrm>
          <a:prstGeom prst="rect">
            <a:avLst/>
          </a:prstGeom>
        </p:spPr>
      </p:pic>
      <p:grpSp>
        <p:nvGrpSpPr>
          <p:cNvPr id="37" name="Skupina 36">
            <a:extLst>
              <a:ext uri="{FF2B5EF4-FFF2-40B4-BE49-F238E27FC236}">
                <a16:creationId xmlns:a16="http://schemas.microsoft.com/office/drawing/2014/main" id="{C7F5E115-9AE7-5D55-076C-A823DE593BAC}"/>
              </a:ext>
            </a:extLst>
          </p:cNvPr>
          <p:cNvGrpSpPr/>
          <p:nvPr/>
        </p:nvGrpSpPr>
        <p:grpSpPr>
          <a:xfrm>
            <a:off x="5675983" y="3349129"/>
            <a:ext cx="1863930" cy="781734"/>
            <a:chOff x="3844134" y="2764644"/>
            <a:chExt cx="5831032" cy="2162793"/>
          </a:xfrm>
        </p:grpSpPr>
        <p:grpSp>
          <p:nvGrpSpPr>
            <p:cNvPr id="15" name="Grafický objekt 12">
              <a:extLst>
                <a:ext uri="{FF2B5EF4-FFF2-40B4-BE49-F238E27FC236}">
                  <a16:creationId xmlns:a16="http://schemas.microsoft.com/office/drawing/2014/main" id="{73D080B4-DFD1-E416-1F44-FAC371FFD91E}"/>
                </a:ext>
              </a:extLst>
            </p:cNvPr>
            <p:cNvGrpSpPr/>
            <p:nvPr/>
          </p:nvGrpSpPr>
          <p:grpSpPr>
            <a:xfrm>
              <a:off x="3844134" y="2764644"/>
              <a:ext cx="2770958" cy="2162793"/>
              <a:chOff x="3844134" y="2764644"/>
              <a:chExt cx="2770958" cy="2162793"/>
            </a:xfrm>
          </p:grpSpPr>
          <p:sp>
            <p:nvSpPr>
              <p:cNvPr id="16" name="Volný tvar: obrazec 15">
                <a:extLst>
                  <a:ext uri="{FF2B5EF4-FFF2-40B4-BE49-F238E27FC236}">
                    <a16:creationId xmlns:a16="http://schemas.microsoft.com/office/drawing/2014/main" id="{ECD02829-B4F3-F5CF-092D-15B716DCFA41}"/>
                  </a:ext>
                </a:extLst>
              </p:cNvPr>
              <p:cNvSpPr/>
              <p:nvPr/>
            </p:nvSpPr>
            <p:spPr>
              <a:xfrm>
                <a:off x="4774362" y="2764644"/>
                <a:ext cx="933275" cy="933196"/>
              </a:xfrm>
              <a:custGeom>
                <a:avLst/>
                <a:gdLst>
                  <a:gd name="csX0" fmla="*/ 466611 w 933275"/>
                  <a:gd name="csY0" fmla="*/ 933196 h 933196"/>
                  <a:gd name="csX1" fmla="*/ 933276 w 933275"/>
                  <a:gd name="csY1" fmla="*/ 466598 h 933196"/>
                  <a:gd name="csX2" fmla="*/ 466611 w 933275"/>
                  <a:gd name="csY2" fmla="*/ 0 h 933196"/>
                  <a:gd name="csX3" fmla="*/ 0 w 933275"/>
                  <a:gd name="csY3" fmla="*/ 466598 h 933196"/>
                  <a:gd name="csX4" fmla="*/ 466611 w 933275"/>
                  <a:gd name="csY4" fmla="*/ 933196 h 93319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933275" h="933196">
                    <a:moveTo>
                      <a:pt x="466611" y="933196"/>
                    </a:moveTo>
                    <a:cubicBezTo>
                      <a:pt x="724315" y="933196"/>
                      <a:pt x="933276" y="724339"/>
                      <a:pt x="933276" y="466598"/>
                    </a:cubicBezTo>
                    <a:cubicBezTo>
                      <a:pt x="933276" y="208921"/>
                      <a:pt x="724315" y="0"/>
                      <a:pt x="466611" y="0"/>
                    </a:cubicBezTo>
                    <a:cubicBezTo>
                      <a:pt x="209013" y="0"/>
                      <a:pt x="0" y="208921"/>
                      <a:pt x="0" y="466598"/>
                    </a:cubicBezTo>
                    <a:cubicBezTo>
                      <a:pt x="0" y="724339"/>
                      <a:pt x="209013" y="933196"/>
                      <a:pt x="466611" y="933196"/>
                    </a:cubicBezTo>
                  </a:path>
                </a:pathLst>
              </a:custGeom>
              <a:solidFill>
                <a:srgbClr val="0099CD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" name="Volný tvar: obrazec 16">
                <a:extLst>
                  <a:ext uri="{FF2B5EF4-FFF2-40B4-BE49-F238E27FC236}">
                    <a16:creationId xmlns:a16="http://schemas.microsoft.com/office/drawing/2014/main" id="{DF566BA1-05F1-EAC5-B1AC-C83C66AA575E}"/>
                  </a:ext>
                </a:extLst>
              </p:cNvPr>
              <p:cNvSpPr/>
              <p:nvPr/>
            </p:nvSpPr>
            <p:spPr>
              <a:xfrm>
                <a:off x="3874237" y="3583227"/>
                <a:ext cx="2700013" cy="425728"/>
              </a:xfrm>
              <a:custGeom>
                <a:avLst/>
                <a:gdLst>
                  <a:gd name="csX0" fmla="*/ 1710923 w 2700013"/>
                  <a:gd name="csY0" fmla="*/ 25544 h 425728"/>
                  <a:gd name="csX1" fmla="*/ 1264089 w 2700013"/>
                  <a:gd name="csY1" fmla="*/ 218241 h 425728"/>
                  <a:gd name="csX2" fmla="*/ 888249 w 2700013"/>
                  <a:gd name="csY2" fmla="*/ 90189 h 425728"/>
                  <a:gd name="csX3" fmla="*/ 0 w 2700013"/>
                  <a:gd name="csY3" fmla="*/ 219481 h 425728"/>
                  <a:gd name="csX4" fmla="*/ 0 w 2700013"/>
                  <a:gd name="csY4" fmla="*/ 425729 h 425728"/>
                  <a:gd name="csX5" fmla="*/ 2699807 w 2700013"/>
                  <a:gd name="csY5" fmla="*/ 425367 h 425728"/>
                  <a:gd name="csX6" fmla="*/ 2700014 w 2700013"/>
                  <a:gd name="csY6" fmla="*/ 89 h 425728"/>
                  <a:gd name="csX7" fmla="*/ 1710923 w 2700013"/>
                  <a:gd name="csY7" fmla="*/ 25544 h 42572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</a:cxnLst>
                <a:rect l="l" t="t" r="r" b="b"/>
                <a:pathLst>
                  <a:path w="2700013" h="425728">
                    <a:moveTo>
                      <a:pt x="1710923" y="25544"/>
                    </a:moveTo>
                    <a:cubicBezTo>
                      <a:pt x="1621960" y="121891"/>
                      <a:pt x="1465303" y="218241"/>
                      <a:pt x="1264089" y="218241"/>
                    </a:cubicBezTo>
                    <a:cubicBezTo>
                      <a:pt x="1108078" y="218241"/>
                      <a:pt x="973702" y="157519"/>
                      <a:pt x="888249" y="90189"/>
                    </a:cubicBezTo>
                    <a:cubicBezTo>
                      <a:pt x="378859" y="143706"/>
                      <a:pt x="0" y="219481"/>
                      <a:pt x="0" y="219481"/>
                    </a:cubicBezTo>
                    <a:lnTo>
                      <a:pt x="0" y="425729"/>
                    </a:lnTo>
                    <a:lnTo>
                      <a:pt x="2699807" y="425367"/>
                    </a:lnTo>
                    <a:lnTo>
                      <a:pt x="2700014" y="89"/>
                    </a:lnTo>
                    <a:cubicBezTo>
                      <a:pt x="2700014" y="89"/>
                      <a:pt x="2239393" y="-2880"/>
                      <a:pt x="1710923" y="25544"/>
                    </a:cubicBezTo>
                  </a:path>
                </a:pathLst>
              </a:custGeom>
              <a:solidFill>
                <a:srgbClr val="0099CD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Volný tvar: obrazec 17">
                <a:extLst>
                  <a:ext uri="{FF2B5EF4-FFF2-40B4-BE49-F238E27FC236}">
                    <a16:creationId xmlns:a16="http://schemas.microsoft.com/office/drawing/2014/main" id="{49B2A3BD-7766-928F-5AAC-3ECFC47AB778}"/>
                  </a:ext>
                </a:extLst>
              </p:cNvPr>
              <p:cNvSpPr/>
              <p:nvPr/>
            </p:nvSpPr>
            <p:spPr>
              <a:xfrm>
                <a:off x="4470913" y="4193391"/>
                <a:ext cx="628739" cy="734046"/>
              </a:xfrm>
              <a:custGeom>
                <a:avLst/>
                <a:gdLst>
                  <a:gd name="csX0" fmla="*/ 0 w 628739"/>
                  <a:gd name="csY0" fmla="*/ 233280 h 734046"/>
                  <a:gd name="csX1" fmla="*/ 250526 w 628739"/>
                  <a:gd name="csY1" fmla="*/ 462247 h 734046"/>
                  <a:gd name="csX2" fmla="*/ 352864 w 628739"/>
                  <a:gd name="csY2" fmla="*/ 510834 h 734046"/>
                  <a:gd name="csX3" fmla="*/ 246574 w 628739"/>
                  <a:gd name="csY3" fmla="*/ 549249 h 734046"/>
                  <a:gd name="csX4" fmla="*/ 19465 w 628739"/>
                  <a:gd name="csY4" fmla="*/ 504328 h 734046"/>
                  <a:gd name="csX5" fmla="*/ 6662 w 628739"/>
                  <a:gd name="csY5" fmla="*/ 498882 h 734046"/>
                  <a:gd name="csX6" fmla="*/ 6662 w 628739"/>
                  <a:gd name="csY6" fmla="*/ 699399 h 734046"/>
                  <a:gd name="csX7" fmla="*/ 13734 w 628739"/>
                  <a:gd name="csY7" fmla="*/ 701001 h 734046"/>
                  <a:gd name="csX8" fmla="*/ 292711 w 628739"/>
                  <a:gd name="csY8" fmla="*/ 734047 h 734046"/>
                  <a:gd name="csX9" fmla="*/ 628740 w 628739"/>
                  <a:gd name="csY9" fmla="*/ 492866 h 734046"/>
                  <a:gd name="csX10" fmla="*/ 376664 w 628739"/>
                  <a:gd name="csY10" fmla="*/ 266920 h 734046"/>
                  <a:gd name="csX11" fmla="*/ 275929 w 628739"/>
                  <a:gd name="csY11" fmla="*/ 221275 h 734046"/>
                  <a:gd name="csX12" fmla="*/ 377336 w 628739"/>
                  <a:gd name="csY12" fmla="*/ 184769 h 734046"/>
                  <a:gd name="csX13" fmla="*/ 573284 w 628739"/>
                  <a:gd name="csY13" fmla="*/ 218951 h 734046"/>
                  <a:gd name="csX14" fmla="*/ 585522 w 628739"/>
                  <a:gd name="csY14" fmla="*/ 223522 h 734046"/>
                  <a:gd name="csX15" fmla="*/ 585522 w 628739"/>
                  <a:gd name="csY15" fmla="*/ 25583 h 734046"/>
                  <a:gd name="csX16" fmla="*/ 578321 w 628739"/>
                  <a:gd name="csY16" fmla="*/ 24036 h 734046"/>
                  <a:gd name="csX17" fmla="*/ 354257 w 628739"/>
                  <a:gd name="csY17" fmla="*/ 0 h 734046"/>
                  <a:gd name="csX18" fmla="*/ 0 w 628739"/>
                  <a:gd name="csY18" fmla="*/ 233280 h 73404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</a:cxnLst>
                <a:rect l="l" t="t" r="r" b="b"/>
                <a:pathLst>
                  <a:path w="628739" h="734046">
                    <a:moveTo>
                      <a:pt x="0" y="233280"/>
                    </a:moveTo>
                    <a:cubicBezTo>
                      <a:pt x="0" y="409633"/>
                      <a:pt x="144831" y="440096"/>
                      <a:pt x="250526" y="462247"/>
                    </a:cubicBezTo>
                    <a:cubicBezTo>
                      <a:pt x="307734" y="474278"/>
                      <a:pt x="352864" y="483650"/>
                      <a:pt x="352864" y="510834"/>
                    </a:cubicBezTo>
                    <a:cubicBezTo>
                      <a:pt x="352864" y="539129"/>
                      <a:pt x="297874" y="549249"/>
                      <a:pt x="246574" y="549249"/>
                    </a:cubicBezTo>
                    <a:cubicBezTo>
                      <a:pt x="168558" y="549249"/>
                      <a:pt x="85762" y="532856"/>
                      <a:pt x="19465" y="504328"/>
                    </a:cubicBezTo>
                    <a:lnTo>
                      <a:pt x="6662" y="498882"/>
                    </a:lnTo>
                    <a:lnTo>
                      <a:pt x="6662" y="699399"/>
                    </a:lnTo>
                    <a:lnTo>
                      <a:pt x="13734" y="701001"/>
                    </a:lnTo>
                    <a:cubicBezTo>
                      <a:pt x="111141" y="724133"/>
                      <a:pt x="194555" y="734047"/>
                      <a:pt x="292711" y="734047"/>
                    </a:cubicBezTo>
                    <a:cubicBezTo>
                      <a:pt x="393755" y="734047"/>
                      <a:pt x="628740" y="710449"/>
                      <a:pt x="628740" y="492866"/>
                    </a:cubicBezTo>
                    <a:cubicBezTo>
                      <a:pt x="628740" y="316797"/>
                      <a:pt x="482978" y="287984"/>
                      <a:pt x="376664" y="266920"/>
                    </a:cubicBezTo>
                    <a:cubicBezTo>
                      <a:pt x="320384" y="255766"/>
                      <a:pt x="275929" y="246987"/>
                      <a:pt x="275929" y="221275"/>
                    </a:cubicBezTo>
                    <a:cubicBezTo>
                      <a:pt x="275929" y="189237"/>
                      <a:pt x="327226" y="184769"/>
                      <a:pt x="377336" y="184769"/>
                    </a:cubicBezTo>
                    <a:cubicBezTo>
                      <a:pt x="443583" y="184769"/>
                      <a:pt x="511402" y="196541"/>
                      <a:pt x="573284" y="218951"/>
                    </a:cubicBezTo>
                    <a:lnTo>
                      <a:pt x="585522" y="223522"/>
                    </a:lnTo>
                    <a:lnTo>
                      <a:pt x="585522" y="25583"/>
                    </a:lnTo>
                    <a:lnTo>
                      <a:pt x="578321" y="24036"/>
                    </a:lnTo>
                    <a:cubicBezTo>
                      <a:pt x="505232" y="8545"/>
                      <a:pt x="425667" y="0"/>
                      <a:pt x="354257" y="0"/>
                    </a:cubicBezTo>
                    <a:cubicBezTo>
                      <a:pt x="119093" y="0"/>
                      <a:pt x="0" y="78455"/>
                      <a:pt x="0" y="233280"/>
                    </a:cubicBezTo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Volný tvar: obrazec 18">
                <a:extLst>
                  <a:ext uri="{FF2B5EF4-FFF2-40B4-BE49-F238E27FC236}">
                    <a16:creationId xmlns:a16="http://schemas.microsoft.com/office/drawing/2014/main" id="{D5A44542-C6CE-0B5C-2D9F-B84EC5A7FAD6}"/>
                  </a:ext>
                </a:extLst>
              </p:cNvPr>
              <p:cNvSpPr/>
              <p:nvPr/>
            </p:nvSpPr>
            <p:spPr>
              <a:xfrm>
                <a:off x="5120770" y="4193391"/>
                <a:ext cx="765439" cy="734046"/>
              </a:xfrm>
              <a:custGeom>
                <a:avLst/>
                <a:gdLst>
                  <a:gd name="csX0" fmla="*/ 287471 w 765439"/>
                  <a:gd name="csY0" fmla="*/ 367037 h 734046"/>
                  <a:gd name="csX1" fmla="*/ 381262 w 765439"/>
                  <a:gd name="csY1" fmla="*/ 184769 h 734046"/>
                  <a:gd name="csX2" fmla="*/ 477868 w 765439"/>
                  <a:gd name="csY2" fmla="*/ 367190 h 734046"/>
                  <a:gd name="csX3" fmla="*/ 381262 w 765439"/>
                  <a:gd name="csY3" fmla="*/ 549275 h 734046"/>
                  <a:gd name="csX4" fmla="*/ 287471 w 765439"/>
                  <a:gd name="csY4" fmla="*/ 367037 h 734046"/>
                  <a:gd name="csX5" fmla="*/ 0 w 765439"/>
                  <a:gd name="csY5" fmla="*/ 367037 h 734046"/>
                  <a:gd name="csX6" fmla="*/ 381262 w 765439"/>
                  <a:gd name="csY6" fmla="*/ 734047 h 734046"/>
                  <a:gd name="csX7" fmla="*/ 765439 w 765439"/>
                  <a:gd name="csY7" fmla="*/ 367037 h 734046"/>
                  <a:gd name="csX8" fmla="*/ 381262 w 765439"/>
                  <a:gd name="csY8" fmla="*/ 0 h 734046"/>
                  <a:gd name="csX9" fmla="*/ 0 w 765439"/>
                  <a:gd name="csY9" fmla="*/ 367037 h 73404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765439" h="734046">
                    <a:moveTo>
                      <a:pt x="287471" y="367037"/>
                    </a:moveTo>
                    <a:cubicBezTo>
                      <a:pt x="287471" y="246059"/>
                      <a:pt x="319044" y="184769"/>
                      <a:pt x="381262" y="184769"/>
                    </a:cubicBezTo>
                    <a:cubicBezTo>
                      <a:pt x="465424" y="184769"/>
                      <a:pt x="476731" y="288965"/>
                      <a:pt x="477868" y="367190"/>
                    </a:cubicBezTo>
                    <a:cubicBezTo>
                      <a:pt x="476731" y="455173"/>
                      <a:pt x="468316" y="549275"/>
                      <a:pt x="381262" y="549275"/>
                    </a:cubicBezTo>
                    <a:cubicBezTo>
                      <a:pt x="318243" y="549275"/>
                      <a:pt x="287471" y="489614"/>
                      <a:pt x="287471" y="367037"/>
                    </a:cubicBezTo>
                    <a:moveTo>
                      <a:pt x="0" y="367037"/>
                    </a:moveTo>
                    <a:cubicBezTo>
                      <a:pt x="0" y="603723"/>
                      <a:pt x="135436" y="734047"/>
                      <a:pt x="381262" y="734047"/>
                    </a:cubicBezTo>
                    <a:cubicBezTo>
                      <a:pt x="628999" y="734047"/>
                      <a:pt x="765439" y="603723"/>
                      <a:pt x="765439" y="367037"/>
                    </a:cubicBezTo>
                    <a:cubicBezTo>
                      <a:pt x="765439" y="133755"/>
                      <a:pt x="625385" y="0"/>
                      <a:pt x="381262" y="0"/>
                    </a:cubicBezTo>
                    <a:cubicBezTo>
                      <a:pt x="138997" y="0"/>
                      <a:pt x="0" y="133755"/>
                      <a:pt x="0" y="367037"/>
                    </a:cubicBezTo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Volný tvar: obrazec 19">
                <a:extLst>
                  <a:ext uri="{FF2B5EF4-FFF2-40B4-BE49-F238E27FC236}">
                    <a16:creationId xmlns:a16="http://schemas.microsoft.com/office/drawing/2014/main" id="{07DEB79C-DF1A-8B51-33BB-F9ACF539B85C}"/>
                  </a:ext>
                </a:extLst>
              </p:cNvPr>
              <p:cNvSpPr/>
              <p:nvPr/>
            </p:nvSpPr>
            <p:spPr>
              <a:xfrm>
                <a:off x="5931442" y="4205343"/>
                <a:ext cx="683650" cy="710115"/>
              </a:xfrm>
              <a:custGeom>
                <a:avLst/>
                <a:gdLst>
                  <a:gd name="csX0" fmla="*/ 321650 w 683650"/>
                  <a:gd name="csY0" fmla="*/ 149117 h 710115"/>
                  <a:gd name="csX1" fmla="*/ 400983 w 683650"/>
                  <a:gd name="csY1" fmla="*/ 207361 h 710115"/>
                  <a:gd name="csX2" fmla="*/ 315816 w 683650"/>
                  <a:gd name="csY2" fmla="*/ 264672 h 710115"/>
                  <a:gd name="csX3" fmla="*/ 260567 w 683650"/>
                  <a:gd name="csY3" fmla="*/ 264672 h 710115"/>
                  <a:gd name="csX4" fmla="*/ 260567 w 683650"/>
                  <a:gd name="csY4" fmla="*/ 149117 h 710115"/>
                  <a:gd name="csX5" fmla="*/ 321650 w 683650"/>
                  <a:gd name="csY5" fmla="*/ 149117 h 710115"/>
                  <a:gd name="csX6" fmla="*/ 320720 w 683650"/>
                  <a:gd name="csY6" fmla="*/ 425717 h 710115"/>
                  <a:gd name="csX7" fmla="*/ 407645 w 683650"/>
                  <a:gd name="csY7" fmla="*/ 486954 h 710115"/>
                  <a:gd name="csX8" fmla="*/ 318655 w 683650"/>
                  <a:gd name="csY8" fmla="*/ 549071 h 710115"/>
                  <a:gd name="csX9" fmla="*/ 260567 w 683650"/>
                  <a:gd name="csY9" fmla="*/ 549071 h 710115"/>
                  <a:gd name="csX10" fmla="*/ 260567 w 683650"/>
                  <a:gd name="csY10" fmla="*/ 425717 h 710115"/>
                  <a:gd name="csX11" fmla="*/ 320720 w 683650"/>
                  <a:gd name="csY11" fmla="*/ 425717 h 710115"/>
                  <a:gd name="csX12" fmla="*/ 9165 w 683650"/>
                  <a:gd name="csY12" fmla="*/ 0 h 710115"/>
                  <a:gd name="csX13" fmla="*/ 0 w 683650"/>
                  <a:gd name="csY13" fmla="*/ 0 h 710115"/>
                  <a:gd name="csX14" fmla="*/ 0 w 683650"/>
                  <a:gd name="csY14" fmla="*/ 710116 h 710115"/>
                  <a:gd name="csX15" fmla="*/ 398532 w 683650"/>
                  <a:gd name="csY15" fmla="*/ 710116 h 710115"/>
                  <a:gd name="csX16" fmla="*/ 683651 w 683650"/>
                  <a:gd name="csY16" fmla="*/ 508769 h 710115"/>
                  <a:gd name="csX17" fmla="*/ 553973 w 683650"/>
                  <a:gd name="csY17" fmla="*/ 348861 h 710115"/>
                  <a:gd name="csX18" fmla="*/ 671078 w 683650"/>
                  <a:gd name="csY18" fmla="*/ 179632 h 710115"/>
                  <a:gd name="csX19" fmla="*/ 431266 w 683650"/>
                  <a:gd name="csY19" fmla="*/ 0 h 710115"/>
                  <a:gd name="csX20" fmla="*/ 9165 w 683650"/>
                  <a:gd name="csY20" fmla="*/ 0 h 710115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</a:cxnLst>
                <a:rect l="l" t="t" r="r" b="b"/>
                <a:pathLst>
                  <a:path w="683650" h="710115">
                    <a:moveTo>
                      <a:pt x="321650" y="149117"/>
                    </a:moveTo>
                    <a:cubicBezTo>
                      <a:pt x="374264" y="149117"/>
                      <a:pt x="400983" y="168687"/>
                      <a:pt x="400983" y="207361"/>
                    </a:cubicBezTo>
                    <a:cubicBezTo>
                      <a:pt x="400983" y="254759"/>
                      <a:pt x="354746" y="264672"/>
                      <a:pt x="315816" y="264672"/>
                    </a:cubicBezTo>
                    <a:lnTo>
                      <a:pt x="260567" y="264672"/>
                    </a:lnTo>
                    <a:lnTo>
                      <a:pt x="260567" y="149117"/>
                    </a:lnTo>
                    <a:lnTo>
                      <a:pt x="321650" y="149117"/>
                    </a:lnTo>
                    <a:close/>
                    <a:moveTo>
                      <a:pt x="320720" y="425717"/>
                    </a:moveTo>
                    <a:cubicBezTo>
                      <a:pt x="381648" y="425717"/>
                      <a:pt x="407645" y="443995"/>
                      <a:pt x="407645" y="486954"/>
                    </a:cubicBezTo>
                    <a:cubicBezTo>
                      <a:pt x="407645" y="544680"/>
                      <a:pt x="339619" y="549071"/>
                      <a:pt x="318655" y="549071"/>
                    </a:cubicBezTo>
                    <a:lnTo>
                      <a:pt x="260567" y="549071"/>
                    </a:lnTo>
                    <a:lnTo>
                      <a:pt x="260567" y="425717"/>
                    </a:lnTo>
                    <a:lnTo>
                      <a:pt x="320720" y="425717"/>
                    </a:lnTo>
                    <a:close/>
                    <a:moveTo>
                      <a:pt x="9165" y="0"/>
                    </a:moveTo>
                    <a:lnTo>
                      <a:pt x="0" y="0"/>
                    </a:lnTo>
                    <a:lnTo>
                      <a:pt x="0" y="710116"/>
                    </a:lnTo>
                    <a:lnTo>
                      <a:pt x="398532" y="710116"/>
                    </a:lnTo>
                    <a:cubicBezTo>
                      <a:pt x="546592" y="710116"/>
                      <a:pt x="683651" y="685771"/>
                      <a:pt x="683651" y="508769"/>
                    </a:cubicBezTo>
                    <a:cubicBezTo>
                      <a:pt x="683651" y="444978"/>
                      <a:pt x="635529" y="372948"/>
                      <a:pt x="553973" y="348861"/>
                    </a:cubicBezTo>
                    <a:cubicBezTo>
                      <a:pt x="633464" y="319559"/>
                      <a:pt x="671078" y="265397"/>
                      <a:pt x="671078" y="179632"/>
                    </a:cubicBezTo>
                    <a:cubicBezTo>
                      <a:pt x="671078" y="63743"/>
                      <a:pt x="585934" y="0"/>
                      <a:pt x="431266" y="0"/>
                    </a:cubicBezTo>
                    <a:lnTo>
                      <a:pt x="9165" y="0"/>
                    </a:ln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" name="Volný tvar: obrazec 20">
                <a:extLst>
                  <a:ext uri="{FF2B5EF4-FFF2-40B4-BE49-F238E27FC236}">
                    <a16:creationId xmlns:a16="http://schemas.microsoft.com/office/drawing/2014/main" id="{6C65DA37-24C6-FD0D-6732-F608A7A9C599}"/>
                  </a:ext>
                </a:extLst>
              </p:cNvPr>
              <p:cNvSpPr/>
              <p:nvPr/>
            </p:nvSpPr>
            <p:spPr>
              <a:xfrm>
                <a:off x="3844134" y="4073807"/>
                <a:ext cx="600754" cy="851486"/>
              </a:xfrm>
              <a:custGeom>
                <a:avLst/>
                <a:gdLst>
                  <a:gd name="csX0" fmla="*/ 210407 w 600754"/>
                  <a:gd name="csY0" fmla="*/ 4983 h 851486"/>
                  <a:gd name="csX1" fmla="*/ 130064 w 600754"/>
                  <a:gd name="csY1" fmla="*/ 78717 h 851486"/>
                  <a:gd name="csX2" fmla="*/ 136107 w 600754"/>
                  <a:gd name="csY2" fmla="*/ 83750 h 851486"/>
                  <a:gd name="csX3" fmla="*/ 256361 w 600754"/>
                  <a:gd name="csY3" fmla="*/ 143182 h 851486"/>
                  <a:gd name="csX4" fmla="*/ 0 w 600754"/>
                  <a:gd name="csY4" fmla="*/ 476707 h 851486"/>
                  <a:gd name="csX5" fmla="*/ 408938 w 600754"/>
                  <a:gd name="csY5" fmla="*/ 851487 h 851486"/>
                  <a:gd name="csX6" fmla="*/ 595488 w 600754"/>
                  <a:gd name="csY6" fmla="*/ 823477 h 851486"/>
                  <a:gd name="csX7" fmla="*/ 600498 w 600754"/>
                  <a:gd name="csY7" fmla="*/ 821952 h 851486"/>
                  <a:gd name="csX8" fmla="*/ 600498 w 600754"/>
                  <a:gd name="csY8" fmla="*/ 623447 h 851486"/>
                  <a:gd name="csX9" fmla="*/ 591203 w 600754"/>
                  <a:gd name="csY9" fmla="*/ 626752 h 851486"/>
                  <a:gd name="csX10" fmla="*/ 454141 w 600754"/>
                  <a:gd name="csY10" fmla="*/ 653085 h 851486"/>
                  <a:gd name="csX11" fmla="*/ 277478 w 600754"/>
                  <a:gd name="csY11" fmla="*/ 480683 h 851486"/>
                  <a:gd name="csX12" fmla="*/ 462738 w 600754"/>
                  <a:gd name="csY12" fmla="*/ 314243 h 851486"/>
                  <a:gd name="csX13" fmla="*/ 589524 w 600754"/>
                  <a:gd name="csY13" fmla="*/ 339619 h 851486"/>
                  <a:gd name="csX14" fmla="*/ 598613 w 600754"/>
                  <a:gd name="csY14" fmla="*/ 342588 h 851486"/>
                  <a:gd name="csX15" fmla="*/ 598613 w 600754"/>
                  <a:gd name="csY15" fmla="*/ 144704 h 851486"/>
                  <a:gd name="csX16" fmla="*/ 579172 w 600754"/>
                  <a:gd name="csY16" fmla="*/ 141114 h 851486"/>
                  <a:gd name="csX17" fmla="*/ 484630 w 600754"/>
                  <a:gd name="csY17" fmla="*/ 125858 h 851486"/>
                  <a:gd name="csX18" fmla="*/ 595488 w 600754"/>
                  <a:gd name="csY18" fmla="*/ 47942 h 851486"/>
                  <a:gd name="csX19" fmla="*/ 600754 w 600754"/>
                  <a:gd name="csY19" fmla="*/ 42264 h 851486"/>
                  <a:gd name="csX20" fmla="*/ 569880 w 600754"/>
                  <a:gd name="csY20" fmla="*/ 18846 h 851486"/>
                  <a:gd name="csX21" fmla="*/ 565591 w 600754"/>
                  <a:gd name="csY21" fmla="*/ 23520 h 851486"/>
                  <a:gd name="csX22" fmla="*/ 400624 w 600754"/>
                  <a:gd name="csY22" fmla="*/ 84861 h 851486"/>
                  <a:gd name="csX23" fmla="*/ 220476 w 600754"/>
                  <a:gd name="csY23" fmla="*/ 5604 h 851486"/>
                  <a:gd name="csX24" fmla="*/ 215726 w 600754"/>
                  <a:gd name="csY24" fmla="*/ 0 h 851486"/>
                  <a:gd name="csX25" fmla="*/ 210407 w 600754"/>
                  <a:gd name="csY25" fmla="*/ 4983 h 851486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</a:cxnLst>
                <a:rect l="l" t="t" r="r" b="b"/>
                <a:pathLst>
                  <a:path w="600754" h="851486">
                    <a:moveTo>
                      <a:pt x="210407" y="4983"/>
                    </a:moveTo>
                    <a:lnTo>
                      <a:pt x="130064" y="78717"/>
                    </a:lnTo>
                    <a:lnTo>
                      <a:pt x="136107" y="83750"/>
                    </a:lnTo>
                    <a:cubicBezTo>
                      <a:pt x="138093" y="85479"/>
                      <a:pt x="183119" y="123225"/>
                      <a:pt x="256361" y="143182"/>
                    </a:cubicBezTo>
                    <a:cubicBezTo>
                      <a:pt x="95316" y="190915"/>
                      <a:pt x="0" y="313595"/>
                      <a:pt x="0" y="476707"/>
                    </a:cubicBezTo>
                    <a:cubicBezTo>
                      <a:pt x="0" y="707922"/>
                      <a:pt x="156709" y="851487"/>
                      <a:pt x="408938" y="851487"/>
                    </a:cubicBezTo>
                    <a:cubicBezTo>
                      <a:pt x="492014" y="851487"/>
                      <a:pt x="572666" y="830033"/>
                      <a:pt x="595488" y="823477"/>
                    </a:cubicBezTo>
                    <a:lnTo>
                      <a:pt x="600498" y="821952"/>
                    </a:lnTo>
                    <a:lnTo>
                      <a:pt x="600498" y="623447"/>
                    </a:lnTo>
                    <a:lnTo>
                      <a:pt x="591203" y="626752"/>
                    </a:lnTo>
                    <a:cubicBezTo>
                      <a:pt x="540913" y="644773"/>
                      <a:pt x="497359" y="653085"/>
                      <a:pt x="454141" y="653085"/>
                    </a:cubicBezTo>
                    <a:cubicBezTo>
                      <a:pt x="343519" y="653085"/>
                      <a:pt x="277478" y="588647"/>
                      <a:pt x="277478" y="480683"/>
                    </a:cubicBezTo>
                    <a:cubicBezTo>
                      <a:pt x="277478" y="377984"/>
                      <a:pt x="348475" y="314243"/>
                      <a:pt x="462738" y="314243"/>
                    </a:cubicBezTo>
                    <a:cubicBezTo>
                      <a:pt x="506033" y="314243"/>
                      <a:pt x="549225" y="326324"/>
                      <a:pt x="589524" y="339619"/>
                    </a:cubicBezTo>
                    <a:lnTo>
                      <a:pt x="598613" y="342588"/>
                    </a:lnTo>
                    <a:lnTo>
                      <a:pt x="598613" y="144704"/>
                    </a:lnTo>
                    <a:lnTo>
                      <a:pt x="579172" y="141114"/>
                    </a:lnTo>
                    <a:cubicBezTo>
                      <a:pt x="544551" y="134635"/>
                      <a:pt x="515508" y="129213"/>
                      <a:pt x="484630" y="125858"/>
                    </a:cubicBezTo>
                    <a:cubicBezTo>
                      <a:pt x="540318" y="101074"/>
                      <a:pt x="577313" y="67487"/>
                      <a:pt x="595488" y="47942"/>
                    </a:cubicBezTo>
                    <a:lnTo>
                      <a:pt x="600754" y="42264"/>
                    </a:lnTo>
                    <a:lnTo>
                      <a:pt x="569880" y="18846"/>
                    </a:lnTo>
                    <a:lnTo>
                      <a:pt x="565591" y="23520"/>
                    </a:lnTo>
                    <a:cubicBezTo>
                      <a:pt x="565026" y="24089"/>
                      <a:pt x="507453" y="85944"/>
                      <a:pt x="400624" y="84861"/>
                    </a:cubicBezTo>
                    <a:cubicBezTo>
                      <a:pt x="287186" y="83621"/>
                      <a:pt x="221148" y="6273"/>
                      <a:pt x="220476" y="5604"/>
                    </a:cubicBezTo>
                    <a:lnTo>
                      <a:pt x="215726" y="0"/>
                    </a:lnTo>
                    <a:lnTo>
                      <a:pt x="210407" y="4983"/>
                    </a:ln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2" name="Grafický objekt 12">
              <a:extLst>
                <a:ext uri="{FF2B5EF4-FFF2-40B4-BE49-F238E27FC236}">
                  <a16:creationId xmlns:a16="http://schemas.microsoft.com/office/drawing/2014/main" id="{924E749B-C9B4-5D7C-5093-62B2AB2EAF89}"/>
                </a:ext>
              </a:extLst>
            </p:cNvPr>
            <p:cNvGrpSpPr/>
            <p:nvPr/>
          </p:nvGrpSpPr>
          <p:grpSpPr>
            <a:xfrm>
              <a:off x="7175566" y="3867654"/>
              <a:ext cx="2499600" cy="1054467"/>
              <a:chOff x="7175566" y="3867654"/>
              <a:chExt cx="2499600" cy="1054467"/>
            </a:xfrm>
            <a:solidFill>
              <a:srgbClr val="003366"/>
            </a:solidFill>
          </p:grpSpPr>
          <p:sp>
            <p:nvSpPr>
              <p:cNvPr id="23" name="Volný tvar: obrazec 22">
                <a:extLst>
                  <a:ext uri="{FF2B5EF4-FFF2-40B4-BE49-F238E27FC236}">
                    <a16:creationId xmlns:a16="http://schemas.microsoft.com/office/drawing/2014/main" id="{C4517F83-7853-0180-4B63-6B70F99D7E45}"/>
                  </a:ext>
                </a:extLst>
              </p:cNvPr>
              <p:cNvSpPr/>
              <p:nvPr/>
            </p:nvSpPr>
            <p:spPr>
              <a:xfrm>
                <a:off x="7192897" y="3888695"/>
                <a:ext cx="269997" cy="406821"/>
              </a:xfrm>
              <a:custGeom>
                <a:avLst/>
                <a:gdLst>
                  <a:gd name="csX0" fmla="*/ 205536 w 269997"/>
                  <a:gd name="csY0" fmla="*/ 406822 h 406821"/>
                  <a:gd name="csX1" fmla="*/ 197634 w 269997"/>
                  <a:gd name="csY1" fmla="*/ 398915 h 406821"/>
                  <a:gd name="csX2" fmla="*/ 197634 w 269997"/>
                  <a:gd name="csY2" fmla="*/ 224396 h 406821"/>
                  <a:gd name="csX3" fmla="*/ 72363 w 269997"/>
                  <a:gd name="csY3" fmla="*/ 224396 h 406821"/>
                  <a:gd name="csX4" fmla="*/ 72363 w 269997"/>
                  <a:gd name="csY4" fmla="*/ 398915 h 406821"/>
                  <a:gd name="csX5" fmla="*/ 64457 w 269997"/>
                  <a:gd name="csY5" fmla="*/ 406822 h 406821"/>
                  <a:gd name="csX6" fmla="*/ 7906 w 269997"/>
                  <a:gd name="csY6" fmla="*/ 406822 h 406821"/>
                  <a:gd name="csX7" fmla="*/ 0 w 269997"/>
                  <a:gd name="csY7" fmla="*/ 398915 h 406821"/>
                  <a:gd name="csX8" fmla="*/ 0 w 269997"/>
                  <a:gd name="csY8" fmla="*/ 7906 h 406821"/>
                  <a:gd name="csX9" fmla="*/ 7906 w 269997"/>
                  <a:gd name="csY9" fmla="*/ 0 h 406821"/>
                  <a:gd name="csX10" fmla="*/ 64457 w 269997"/>
                  <a:gd name="csY10" fmla="*/ 0 h 406821"/>
                  <a:gd name="csX11" fmla="*/ 72363 w 269997"/>
                  <a:gd name="csY11" fmla="*/ 7906 h 406821"/>
                  <a:gd name="csX12" fmla="*/ 72363 w 269997"/>
                  <a:gd name="csY12" fmla="*/ 168446 h 406821"/>
                  <a:gd name="csX13" fmla="*/ 197634 w 269997"/>
                  <a:gd name="csY13" fmla="*/ 168446 h 406821"/>
                  <a:gd name="csX14" fmla="*/ 197634 w 269997"/>
                  <a:gd name="csY14" fmla="*/ 7906 h 406821"/>
                  <a:gd name="csX15" fmla="*/ 205536 w 269997"/>
                  <a:gd name="csY15" fmla="*/ 0 h 406821"/>
                  <a:gd name="csX16" fmla="*/ 262091 w 269997"/>
                  <a:gd name="csY16" fmla="*/ 0 h 406821"/>
                  <a:gd name="csX17" fmla="*/ 269997 w 269997"/>
                  <a:gd name="csY17" fmla="*/ 7906 h 406821"/>
                  <a:gd name="csX18" fmla="*/ 269997 w 269997"/>
                  <a:gd name="csY18" fmla="*/ 398915 h 406821"/>
                  <a:gd name="csX19" fmla="*/ 262091 w 269997"/>
                  <a:gd name="csY19" fmla="*/ 406822 h 406821"/>
                  <a:gd name="csX20" fmla="*/ 205536 w 269997"/>
                  <a:gd name="csY20" fmla="*/ 406822 h 40682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</a:cxnLst>
                <a:rect l="l" t="t" r="r" b="b"/>
                <a:pathLst>
                  <a:path w="269997" h="406821">
                    <a:moveTo>
                      <a:pt x="205536" y="406822"/>
                    </a:moveTo>
                    <a:cubicBezTo>
                      <a:pt x="198848" y="406822"/>
                      <a:pt x="197634" y="405603"/>
                      <a:pt x="197634" y="398915"/>
                    </a:cubicBezTo>
                    <a:lnTo>
                      <a:pt x="197634" y="224396"/>
                    </a:lnTo>
                    <a:lnTo>
                      <a:pt x="72363" y="224396"/>
                    </a:lnTo>
                    <a:lnTo>
                      <a:pt x="72363" y="398915"/>
                    </a:lnTo>
                    <a:cubicBezTo>
                      <a:pt x="72363" y="405603"/>
                      <a:pt x="71149" y="406822"/>
                      <a:pt x="64457" y="406822"/>
                    </a:cubicBezTo>
                    <a:lnTo>
                      <a:pt x="7906" y="406822"/>
                    </a:lnTo>
                    <a:cubicBezTo>
                      <a:pt x="1214" y="406822"/>
                      <a:pt x="0" y="405603"/>
                      <a:pt x="0" y="398915"/>
                    </a:cubicBezTo>
                    <a:lnTo>
                      <a:pt x="0" y="7906"/>
                    </a:lnTo>
                    <a:cubicBezTo>
                      <a:pt x="0" y="1219"/>
                      <a:pt x="1214" y="0"/>
                      <a:pt x="7906" y="0"/>
                    </a:cubicBezTo>
                    <a:lnTo>
                      <a:pt x="64457" y="0"/>
                    </a:lnTo>
                    <a:cubicBezTo>
                      <a:pt x="71149" y="0"/>
                      <a:pt x="72363" y="1219"/>
                      <a:pt x="72363" y="7906"/>
                    </a:cubicBezTo>
                    <a:lnTo>
                      <a:pt x="72363" y="168446"/>
                    </a:lnTo>
                    <a:lnTo>
                      <a:pt x="197634" y="168446"/>
                    </a:lnTo>
                    <a:lnTo>
                      <a:pt x="197634" y="7906"/>
                    </a:lnTo>
                    <a:cubicBezTo>
                      <a:pt x="197634" y="1219"/>
                      <a:pt x="198848" y="0"/>
                      <a:pt x="205536" y="0"/>
                    </a:cubicBezTo>
                    <a:lnTo>
                      <a:pt x="262091" y="0"/>
                    </a:lnTo>
                    <a:cubicBezTo>
                      <a:pt x="268779" y="0"/>
                      <a:pt x="269997" y="1219"/>
                      <a:pt x="269997" y="7906"/>
                    </a:cubicBezTo>
                    <a:lnTo>
                      <a:pt x="269997" y="398915"/>
                    </a:lnTo>
                    <a:cubicBezTo>
                      <a:pt x="269997" y="405603"/>
                      <a:pt x="268779" y="406822"/>
                      <a:pt x="262091" y="406822"/>
                    </a:cubicBezTo>
                    <a:lnTo>
                      <a:pt x="205536" y="406822"/>
                    </a:ln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" name="Volný tvar: obrazec 23">
                <a:extLst>
                  <a:ext uri="{FF2B5EF4-FFF2-40B4-BE49-F238E27FC236}">
                    <a16:creationId xmlns:a16="http://schemas.microsoft.com/office/drawing/2014/main" id="{0C870E8E-FE62-7958-BE9D-84C228B57791}"/>
                  </a:ext>
                </a:extLst>
              </p:cNvPr>
              <p:cNvSpPr/>
              <p:nvPr/>
            </p:nvSpPr>
            <p:spPr>
              <a:xfrm>
                <a:off x="7521117" y="3999539"/>
                <a:ext cx="263467" cy="424900"/>
              </a:xfrm>
              <a:custGeom>
                <a:avLst/>
                <a:gdLst>
                  <a:gd name="csX0" fmla="*/ 262200 w 263467"/>
                  <a:gd name="csY0" fmla="*/ 18683 h 424900"/>
                  <a:gd name="csX1" fmla="*/ 202609 w 263467"/>
                  <a:gd name="csY1" fmla="*/ 236382 h 424900"/>
                  <a:gd name="csX2" fmla="*/ 162476 w 263467"/>
                  <a:gd name="csY2" fmla="*/ 370774 h 424900"/>
                  <a:gd name="csX3" fmla="*/ 77337 w 263467"/>
                  <a:gd name="csY3" fmla="*/ 424900 h 424900"/>
                  <a:gd name="csX4" fmla="*/ 1985 w 263467"/>
                  <a:gd name="csY4" fmla="*/ 404014 h 424900"/>
                  <a:gd name="csX5" fmla="*/ 109 w 263467"/>
                  <a:gd name="csY5" fmla="*/ 401181 h 424900"/>
                  <a:gd name="csX6" fmla="*/ 390 w 263467"/>
                  <a:gd name="csY6" fmla="*/ 398517 h 424900"/>
                  <a:gd name="csX7" fmla="*/ 1328 w 263467"/>
                  <a:gd name="csY7" fmla="*/ 396316 h 424900"/>
                  <a:gd name="csX8" fmla="*/ 19569 w 263467"/>
                  <a:gd name="csY8" fmla="*/ 358002 h 424900"/>
                  <a:gd name="csX9" fmla="*/ 22271 w 263467"/>
                  <a:gd name="csY9" fmla="*/ 356179 h 424900"/>
                  <a:gd name="csX10" fmla="*/ 25652 w 263467"/>
                  <a:gd name="csY10" fmla="*/ 357398 h 424900"/>
                  <a:gd name="csX11" fmla="*/ 37205 w 263467"/>
                  <a:gd name="csY11" fmla="*/ 362867 h 424900"/>
                  <a:gd name="csX12" fmla="*/ 72472 w 263467"/>
                  <a:gd name="csY12" fmla="*/ 370774 h 424900"/>
                  <a:gd name="csX13" fmla="*/ 125985 w 263467"/>
                  <a:gd name="csY13" fmla="*/ 322125 h 424900"/>
                  <a:gd name="csX14" fmla="*/ 133892 w 263467"/>
                  <a:gd name="csY14" fmla="*/ 295978 h 424900"/>
                  <a:gd name="csX15" fmla="*/ 102201 w 263467"/>
                  <a:gd name="csY15" fmla="*/ 295978 h 424900"/>
                  <a:gd name="csX16" fmla="*/ 95583 w 263467"/>
                  <a:gd name="csY16" fmla="*/ 291113 h 424900"/>
                  <a:gd name="csX17" fmla="*/ 2226 w 263467"/>
                  <a:gd name="csY17" fmla="*/ 17098 h 424900"/>
                  <a:gd name="csX18" fmla="*/ 719 w 263467"/>
                  <a:gd name="csY18" fmla="*/ 9558 h 424900"/>
                  <a:gd name="csX19" fmla="*/ 8625 w 263467"/>
                  <a:gd name="csY19" fmla="*/ 5912 h 424900"/>
                  <a:gd name="csX20" fmla="*/ 58487 w 263467"/>
                  <a:gd name="csY20" fmla="*/ 443 h 424900"/>
                  <a:gd name="csX21" fmla="*/ 67608 w 263467"/>
                  <a:gd name="csY21" fmla="*/ 443 h 424900"/>
                  <a:gd name="csX22" fmla="*/ 71868 w 263467"/>
                  <a:gd name="csY22" fmla="*/ 8349 h 424900"/>
                  <a:gd name="csX23" fmla="*/ 111391 w 263467"/>
                  <a:gd name="csY23" fmla="*/ 155503 h 424900"/>
                  <a:gd name="csX24" fmla="*/ 138152 w 263467"/>
                  <a:gd name="csY24" fmla="*/ 264352 h 424900"/>
                  <a:gd name="csX25" fmla="*/ 141798 w 263467"/>
                  <a:gd name="csY25" fmla="*/ 264352 h 424900"/>
                  <a:gd name="csX26" fmla="*/ 165513 w 263467"/>
                  <a:gd name="csY26" fmla="*/ 155503 h 424900"/>
                  <a:gd name="csX27" fmla="*/ 197744 w 263467"/>
                  <a:gd name="csY27" fmla="*/ 8954 h 424900"/>
                  <a:gd name="csX28" fmla="*/ 199522 w 263467"/>
                  <a:gd name="csY28" fmla="*/ 2667 h 424900"/>
                  <a:gd name="csX29" fmla="*/ 201422 w 263467"/>
                  <a:gd name="csY29" fmla="*/ 632 h 424900"/>
                  <a:gd name="csX30" fmla="*/ 204102 w 263467"/>
                  <a:gd name="csY30" fmla="*/ 49 h 424900"/>
                  <a:gd name="csX31" fmla="*/ 209297 w 263467"/>
                  <a:gd name="csY31" fmla="*/ 443 h 424900"/>
                  <a:gd name="csX32" fmla="*/ 256122 w 263467"/>
                  <a:gd name="csY32" fmla="*/ 5912 h 424900"/>
                  <a:gd name="csX33" fmla="*/ 262200 w 263467"/>
                  <a:gd name="csY33" fmla="*/ 7735 h 424900"/>
                  <a:gd name="csX34" fmla="*/ 263419 w 263467"/>
                  <a:gd name="csY34" fmla="*/ 11995 h 424900"/>
                  <a:gd name="csX35" fmla="*/ 262200 w 263467"/>
                  <a:gd name="csY35" fmla="*/ 18683 h 42490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  <a:cxn ang="0">
                    <a:pos x="csX35" y="csY35"/>
                  </a:cxn>
                </a:cxnLst>
                <a:rect l="l" t="t" r="r" b="b"/>
                <a:pathLst>
                  <a:path w="263467" h="424900">
                    <a:moveTo>
                      <a:pt x="262200" y="18683"/>
                    </a:moveTo>
                    <a:lnTo>
                      <a:pt x="202609" y="236382"/>
                    </a:lnTo>
                    <a:cubicBezTo>
                      <a:pt x="191665" y="275914"/>
                      <a:pt x="175852" y="337334"/>
                      <a:pt x="162476" y="370774"/>
                    </a:cubicBezTo>
                    <a:cubicBezTo>
                      <a:pt x="146054" y="412734"/>
                      <a:pt x="110177" y="424900"/>
                      <a:pt x="77337" y="424900"/>
                    </a:cubicBezTo>
                    <a:cubicBezTo>
                      <a:pt x="49098" y="424900"/>
                      <a:pt x="11279" y="413802"/>
                      <a:pt x="1985" y="404014"/>
                    </a:cubicBezTo>
                    <a:cubicBezTo>
                      <a:pt x="1073" y="403053"/>
                      <a:pt x="563" y="402447"/>
                      <a:pt x="109" y="401181"/>
                    </a:cubicBezTo>
                    <a:cubicBezTo>
                      <a:pt x="-135" y="400498"/>
                      <a:pt x="61" y="399491"/>
                      <a:pt x="390" y="398517"/>
                    </a:cubicBezTo>
                    <a:cubicBezTo>
                      <a:pt x="671" y="397685"/>
                      <a:pt x="1047" y="396877"/>
                      <a:pt x="1328" y="396316"/>
                    </a:cubicBezTo>
                    <a:lnTo>
                      <a:pt x="19569" y="358002"/>
                    </a:lnTo>
                    <a:cubicBezTo>
                      <a:pt x="20417" y="356319"/>
                      <a:pt x="21667" y="356179"/>
                      <a:pt x="22271" y="356179"/>
                    </a:cubicBezTo>
                    <a:cubicBezTo>
                      <a:pt x="23059" y="356179"/>
                      <a:pt x="23667" y="356244"/>
                      <a:pt x="25652" y="357398"/>
                    </a:cubicBezTo>
                    <a:cubicBezTo>
                      <a:pt x="28715" y="359177"/>
                      <a:pt x="32340" y="361044"/>
                      <a:pt x="37205" y="362867"/>
                    </a:cubicBezTo>
                    <a:cubicBezTo>
                      <a:pt x="46325" y="366523"/>
                      <a:pt x="57878" y="370774"/>
                      <a:pt x="72472" y="370774"/>
                    </a:cubicBezTo>
                    <a:cubicBezTo>
                      <a:pt x="107745" y="370774"/>
                      <a:pt x="118084" y="348886"/>
                      <a:pt x="125985" y="322125"/>
                    </a:cubicBezTo>
                    <a:lnTo>
                      <a:pt x="133892" y="295978"/>
                    </a:lnTo>
                    <a:lnTo>
                      <a:pt x="102201" y="295978"/>
                    </a:lnTo>
                    <a:cubicBezTo>
                      <a:pt x="97337" y="295978"/>
                      <a:pt x="96780" y="294657"/>
                      <a:pt x="95583" y="291113"/>
                    </a:cubicBezTo>
                    <a:cubicBezTo>
                      <a:pt x="95583" y="291113"/>
                      <a:pt x="5690" y="27279"/>
                      <a:pt x="2226" y="17098"/>
                    </a:cubicBezTo>
                    <a:cubicBezTo>
                      <a:pt x="1280" y="14318"/>
                      <a:pt x="327" y="11812"/>
                      <a:pt x="719" y="9558"/>
                    </a:cubicBezTo>
                    <a:cubicBezTo>
                      <a:pt x="1180" y="6901"/>
                      <a:pt x="3407" y="6492"/>
                      <a:pt x="8625" y="5912"/>
                    </a:cubicBezTo>
                    <a:cubicBezTo>
                      <a:pt x="13843" y="5332"/>
                      <a:pt x="54535" y="858"/>
                      <a:pt x="58487" y="443"/>
                    </a:cubicBezTo>
                    <a:cubicBezTo>
                      <a:pt x="62439" y="28"/>
                      <a:pt x="65418" y="-300"/>
                      <a:pt x="67608" y="443"/>
                    </a:cubicBezTo>
                    <a:cubicBezTo>
                      <a:pt x="69798" y="1186"/>
                      <a:pt x="70763" y="4157"/>
                      <a:pt x="71868" y="8349"/>
                    </a:cubicBezTo>
                    <a:cubicBezTo>
                      <a:pt x="72972" y="12541"/>
                      <a:pt x="111391" y="155503"/>
                      <a:pt x="111391" y="155503"/>
                    </a:cubicBezTo>
                    <a:cubicBezTo>
                      <a:pt x="118693" y="182869"/>
                      <a:pt x="133287" y="239423"/>
                      <a:pt x="138152" y="264352"/>
                    </a:cubicBezTo>
                    <a:lnTo>
                      <a:pt x="141798" y="264352"/>
                    </a:lnTo>
                    <a:cubicBezTo>
                      <a:pt x="146663" y="236382"/>
                      <a:pt x="160458" y="177976"/>
                      <a:pt x="165513" y="155503"/>
                    </a:cubicBezTo>
                    <a:cubicBezTo>
                      <a:pt x="170569" y="133030"/>
                      <a:pt x="196219" y="15904"/>
                      <a:pt x="197744" y="8954"/>
                    </a:cubicBezTo>
                    <a:cubicBezTo>
                      <a:pt x="198436" y="5800"/>
                      <a:pt x="199260" y="3274"/>
                      <a:pt x="199522" y="2667"/>
                    </a:cubicBezTo>
                    <a:cubicBezTo>
                      <a:pt x="199784" y="2061"/>
                      <a:pt x="200515" y="1109"/>
                      <a:pt x="201422" y="632"/>
                    </a:cubicBezTo>
                    <a:cubicBezTo>
                      <a:pt x="202329" y="156"/>
                      <a:pt x="203241" y="61"/>
                      <a:pt x="204102" y="49"/>
                    </a:cubicBezTo>
                    <a:cubicBezTo>
                      <a:pt x="204963" y="37"/>
                      <a:pt x="206998" y="177"/>
                      <a:pt x="209297" y="443"/>
                    </a:cubicBezTo>
                    <a:cubicBezTo>
                      <a:pt x="213066" y="878"/>
                      <a:pt x="253264" y="5575"/>
                      <a:pt x="256122" y="5912"/>
                    </a:cubicBezTo>
                    <a:cubicBezTo>
                      <a:pt x="258980" y="6249"/>
                      <a:pt x="260987" y="6526"/>
                      <a:pt x="262200" y="7735"/>
                    </a:cubicBezTo>
                    <a:cubicBezTo>
                      <a:pt x="263419" y="8954"/>
                      <a:pt x="263572" y="10255"/>
                      <a:pt x="263419" y="11995"/>
                    </a:cubicBezTo>
                    <a:cubicBezTo>
                      <a:pt x="263229" y="14161"/>
                      <a:pt x="262810" y="16256"/>
                      <a:pt x="262200" y="18683"/>
                    </a:cubicBez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" name="Volný tvar: obrazec 24">
                <a:extLst>
                  <a:ext uri="{FF2B5EF4-FFF2-40B4-BE49-F238E27FC236}">
                    <a16:creationId xmlns:a16="http://schemas.microsoft.com/office/drawing/2014/main" id="{4EFC397E-19B5-D386-925A-E9D03F54EC4B}"/>
                  </a:ext>
                </a:extLst>
              </p:cNvPr>
              <p:cNvSpPr/>
              <p:nvPr/>
            </p:nvSpPr>
            <p:spPr>
              <a:xfrm>
                <a:off x="7831819" y="3994503"/>
                <a:ext cx="254302" cy="429052"/>
              </a:xfrm>
              <a:custGeom>
                <a:avLst/>
                <a:gdLst>
                  <a:gd name="csX0" fmla="*/ 108968 w 254302"/>
                  <a:gd name="csY0" fmla="*/ 306484 h 429052"/>
                  <a:gd name="csX1" fmla="*/ 79170 w 254302"/>
                  <a:gd name="csY1" fmla="*/ 292503 h 429052"/>
                  <a:gd name="csX2" fmla="*/ 79170 w 254302"/>
                  <a:gd name="csY2" fmla="*/ 411687 h 429052"/>
                  <a:gd name="csX3" fmla="*/ 78875 w 254302"/>
                  <a:gd name="csY3" fmla="*/ 414428 h 429052"/>
                  <a:gd name="csX4" fmla="*/ 77694 w 254302"/>
                  <a:gd name="csY4" fmla="*/ 415922 h 429052"/>
                  <a:gd name="csX5" fmla="*/ 71268 w 254302"/>
                  <a:gd name="csY5" fmla="*/ 417770 h 429052"/>
                  <a:gd name="csX6" fmla="*/ 20792 w 254302"/>
                  <a:gd name="csY6" fmla="*/ 428104 h 429052"/>
                  <a:gd name="csX7" fmla="*/ 15570 w 254302"/>
                  <a:gd name="csY7" fmla="*/ 429000 h 429052"/>
                  <a:gd name="csX8" fmla="*/ 12890 w 254302"/>
                  <a:gd name="csY8" fmla="*/ 428718 h 429052"/>
                  <a:gd name="csX9" fmla="*/ 11799 w 254302"/>
                  <a:gd name="csY9" fmla="*/ 426641 h 429052"/>
                  <a:gd name="csX10" fmla="*/ 11672 w 254302"/>
                  <a:gd name="csY10" fmla="*/ 422030 h 429052"/>
                  <a:gd name="csX11" fmla="*/ 11672 w 254302"/>
                  <a:gd name="csY11" fmla="*/ 113714 h 429052"/>
                  <a:gd name="csX12" fmla="*/ 5588 w 254302"/>
                  <a:gd name="csY12" fmla="*/ 38314 h 429052"/>
                  <a:gd name="csX13" fmla="*/ 1629 w 254302"/>
                  <a:gd name="csY13" fmla="*/ 26043 h 429052"/>
                  <a:gd name="csX14" fmla="*/ 328 w 254302"/>
                  <a:gd name="csY14" fmla="*/ 22557 h 429052"/>
                  <a:gd name="csX15" fmla="*/ 97 w 254302"/>
                  <a:gd name="csY15" fmla="*/ 19706 h 429052"/>
                  <a:gd name="csX16" fmla="*/ 1870 w 254302"/>
                  <a:gd name="csY16" fmla="*/ 17587 h 429052"/>
                  <a:gd name="csX17" fmla="*/ 4140 w 254302"/>
                  <a:gd name="csY17" fmla="*/ 16707 h 429052"/>
                  <a:gd name="csX18" fmla="*/ 49372 w 254302"/>
                  <a:gd name="csY18" fmla="*/ 1832 h 429052"/>
                  <a:gd name="csX19" fmla="*/ 56544 w 254302"/>
                  <a:gd name="csY19" fmla="*/ 295 h 429052"/>
                  <a:gd name="csX20" fmla="*/ 59101 w 254302"/>
                  <a:gd name="csY20" fmla="*/ 1219 h 429052"/>
                  <a:gd name="csX21" fmla="*/ 73696 w 254302"/>
                  <a:gd name="csY21" fmla="*/ 35272 h 429052"/>
                  <a:gd name="csX22" fmla="*/ 153970 w 254302"/>
                  <a:gd name="csY22" fmla="*/ 0 h 429052"/>
                  <a:gd name="csX23" fmla="*/ 254303 w 254302"/>
                  <a:gd name="csY23" fmla="*/ 150205 h 429052"/>
                  <a:gd name="csX24" fmla="*/ 147277 w 254302"/>
                  <a:gd name="csY24" fmla="*/ 311348 h 429052"/>
                  <a:gd name="csX25" fmla="*/ 108968 w 254302"/>
                  <a:gd name="csY25" fmla="*/ 306484 h 429052"/>
                  <a:gd name="csX26" fmla="*/ 88290 w 254302"/>
                  <a:gd name="csY26" fmla="*/ 68107 h 429052"/>
                  <a:gd name="csX27" fmla="*/ 79170 w 254302"/>
                  <a:gd name="csY27" fmla="*/ 77232 h 429052"/>
                  <a:gd name="csX28" fmla="*/ 79170 w 254302"/>
                  <a:gd name="csY28" fmla="*/ 246897 h 429052"/>
                  <a:gd name="csX29" fmla="*/ 99848 w 254302"/>
                  <a:gd name="csY29" fmla="*/ 256626 h 429052"/>
                  <a:gd name="csX30" fmla="*/ 128427 w 254302"/>
                  <a:gd name="csY30" fmla="*/ 260272 h 429052"/>
                  <a:gd name="csX31" fmla="*/ 186805 w 254302"/>
                  <a:gd name="csY31" fmla="*/ 153246 h 429052"/>
                  <a:gd name="csX32" fmla="*/ 132683 w 254302"/>
                  <a:gd name="csY32" fmla="*/ 51085 h 429052"/>
                  <a:gd name="csX33" fmla="*/ 88290 w 254302"/>
                  <a:gd name="csY33" fmla="*/ 68107 h 42905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</a:cxnLst>
                <a:rect l="l" t="t" r="r" b="b"/>
                <a:pathLst>
                  <a:path w="254302" h="429052">
                    <a:moveTo>
                      <a:pt x="108968" y="306484"/>
                    </a:moveTo>
                    <a:cubicBezTo>
                      <a:pt x="99680" y="303514"/>
                      <a:pt x="89509" y="297973"/>
                      <a:pt x="79170" y="292503"/>
                    </a:cubicBezTo>
                    <a:lnTo>
                      <a:pt x="79170" y="411687"/>
                    </a:lnTo>
                    <a:cubicBezTo>
                      <a:pt x="79170" y="412860"/>
                      <a:pt x="79110" y="413739"/>
                      <a:pt x="78875" y="414428"/>
                    </a:cubicBezTo>
                    <a:cubicBezTo>
                      <a:pt x="78659" y="415060"/>
                      <a:pt x="78295" y="415532"/>
                      <a:pt x="77694" y="415922"/>
                    </a:cubicBezTo>
                    <a:cubicBezTo>
                      <a:pt x="76572" y="416649"/>
                      <a:pt x="74624" y="417092"/>
                      <a:pt x="71268" y="417770"/>
                    </a:cubicBezTo>
                    <a:cubicBezTo>
                      <a:pt x="64152" y="419206"/>
                      <a:pt x="26151" y="427003"/>
                      <a:pt x="20792" y="428104"/>
                    </a:cubicBezTo>
                    <a:cubicBezTo>
                      <a:pt x="19246" y="428422"/>
                      <a:pt x="17219" y="428852"/>
                      <a:pt x="15570" y="429000"/>
                    </a:cubicBezTo>
                    <a:cubicBezTo>
                      <a:pt x="14364" y="429108"/>
                      <a:pt x="13484" y="429066"/>
                      <a:pt x="12890" y="428718"/>
                    </a:cubicBezTo>
                    <a:cubicBezTo>
                      <a:pt x="12297" y="428370"/>
                      <a:pt x="11944" y="427885"/>
                      <a:pt x="11799" y="426641"/>
                    </a:cubicBezTo>
                    <a:cubicBezTo>
                      <a:pt x="11691" y="425722"/>
                      <a:pt x="11672" y="424319"/>
                      <a:pt x="11672" y="422030"/>
                    </a:cubicBezTo>
                    <a:cubicBezTo>
                      <a:pt x="11672" y="416645"/>
                      <a:pt x="11672" y="113714"/>
                      <a:pt x="11672" y="113714"/>
                    </a:cubicBezTo>
                    <a:cubicBezTo>
                      <a:pt x="11672" y="70545"/>
                      <a:pt x="8719" y="51420"/>
                      <a:pt x="5588" y="38314"/>
                    </a:cubicBezTo>
                    <a:cubicBezTo>
                      <a:pt x="4718" y="34672"/>
                      <a:pt x="2600" y="28384"/>
                      <a:pt x="1629" y="26043"/>
                    </a:cubicBezTo>
                    <a:cubicBezTo>
                      <a:pt x="1134" y="24853"/>
                      <a:pt x="640" y="23659"/>
                      <a:pt x="328" y="22557"/>
                    </a:cubicBezTo>
                    <a:cubicBezTo>
                      <a:pt x="27" y="21493"/>
                      <a:pt x="-105" y="20514"/>
                      <a:pt x="97" y="19706"/>
                    </a:cubicBezTo>
                    <a:cubicBezTo>
                      <a:pt x="355" y="18674"/>
                      <a:pt x="1034" y="18040"/>
                      <a:pt x="1870" y="17587"/>
                    </a:cubicBezTo>
                    <a:cubicBezTo>
                      <a:pt x="2567" y="17210"/>
                      <a:pt x="3375" y="16958"/>
                      <a:pt x="4140" y="16707"/>
                    </a:cubicBezTo>
                    <a:cubicBezTo>
                      <a:pt x="19707" y="11601"/>
                      <a:pt x="49372" y="1832"/>
                      <a:pt x="49372" y="1832"/>
                    </a:cubicBezTo>
                    <a:cubicBezTo>
                      <a:pt x="51791" y="1025"/>
                      <a:pt x="54981" y="295"/>
                      <a:pt x="56544" y="295"/>
                    </a:cubicBezTo>
                    <a:cubicBezTo>
                      <a:pt x="57481" y="295"/>
                      <a:pt x="58486" y="604"/>
                      <a:pt x="59101" y="1219"/>
                    </a:cubicBezTo>
                    <a:cubicBezTo>
                      <a:pt x="62752" y="4865"/>
                      <a:pt x="67008" y="13990"/>
                      <a:pt x="73696" y="35272"/>
                    </a:cubicBezTo>
                    <a:cubicBezTo>
                      <a:pt x="92550" y="18250"/>
                      <a:pt x="115051" y="0"/>
                      <a:pt x="153970" y="0"/>
                    </a:cubicBezTo>
                    <a:cubicBezTo>
                      <a:pt x="217212" y="0"/>
                      <a:pt x="254303" y="48648"/>
                      <a:pt x="254303" y="150205"/>
                    </a:cubicBezTo>
                    <a:cubicBezTo>
                      <a:pt x="254303" y="256012"/>
                      <a:pt x="222077" y="311348"/>
                      <a:pt x="147277" y="311348"/>
                    </a:cubicBezTo>
                    <a:cubicBezTo>
                      <a:pt x="130250" y="311348"/>
                      <a:pt x="118256" y="309453"/>
                      <a:pt x="108968" y="306484"/>
                    </a:cubicBezTo>
                    <a:close/>
                    <a:moveTo>
                      <a:pt x="88290" y="68107"/>
                    </a:moveTo>
                    <a:cubicBezTo>
                      <a:pt x="85253" y="71149"/>
                      <a:pt x="82821" y="73586"/>
                      <a:pt x="79170" y="77232"/>
                    </a:cubicBezTo>
                    <a:lnTo>
                      <a:pt x="79170" y="246897"/>
                    </a:lnTo>
                    <a:cubicBezTo>
                      <a:pt x="85862" y="250543"/>
                      <a:pt x="92550" y="254189"/>
                      <a:pt x="99848" y="256626"/>
                    </a:cubicBezTo>
                    <a:cubicBezTo>
                      <a:pt x="107145" y="259054"/>
                      <a:pt x="116265" y="260272"/>
                      <a:pt x="128427" y="260272"/>
                    </a:cubicBezTo>
                    <a:cubicBezTo>
                      <a:pt x="176466" y="260272"/>
                      <a:pt x="186805" y="224396"/>
                      <a:pt x="186805" y="153246"/>
                    </a:cubicBezTo>
                    <a:cubicBezTo>
                      <a:pt x="186805" y="91827"/>
                      <a:pt x="175857" y="51085"/>
                      <a:pt x="132683" y="51085"/>
                    </a:cubicBezTo>
                    <a:cubicBezTo>
                      <a:pt x="115051" y="51085"/>
                      <a:pt x="101061" y="57169"/>
                      <a:pt x="88290" y="68107"/>
                    </a:cubicBez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" name="Volný tvar: obrazec 25">
                <a:extLst>
                  <a:ext uri="{FF2B5EF4-FFF2-40B4-BE49-F238E27FC236}">
                    <a16:creationId xmlns:a16="http://schemas.microsoft.com/office/drawing/2014/main" id="{84B24285-0F59-98A8-1FF1-C31D7D9701E7}"/>
                  </a:ext>
                </a:extLst>
              </p:cNvPr>
              <p:cNvSpPr/>
              <p:nvPr/>
            </p:nvSpPr>
            <p:spPr>
              <a:xfrm>
                <a:off x="8129872" y="3994503"/>
                <a:ext cx="254184" cy="311348"/>
              </a:xfrm>
              <a:custGeom>
                <a:avLst/>
                <a:gdLst>
                  <a:gd name="csX0" fmla="*/ 0 w 254184"/>
                  <a:gd name="csY0" fmla="*/ 155674 h 311348"/>
                  <a:gd name="csX1" fmla="*/ 127090 w 254184"/>
                  <a:gd name="csY1" fmla="*/ 0 h 311348"/>
                  <a:gd name="csX2" fmla="*/ 254184 w 254184"/>
                  <a:gd name="csY2" fmla="*/ 155674 h 311348"/>
                  <a:gd name="csX3" fmla="*/ 127090 w 254184"/>
                  <a:gd name="csY3" fmla="*/ 311348 h 311348"/>
                  <a:gd name="csX4" fmla="*/ 0 w 254184"/>
                  <a:gd name="csY4" fmla="*/ 155674 h 311348"/>
                  <a:gd name="csX5" fmla="*/ 72363 w 254184"/>
                  <a:gd name="csY5" fmla="*/ 155674 h 311348"/>
                  <a:gd name="csX6" fmla="*/ 127090 w 254184"/>
                  <a:gd name="csY6" fmla="*/ 260272 h 311348"/>
                  <a:gd name="csX7" fmla="*/ 181821 w 254184"/>
                  <a:gd name="csY7" fmla="*/ 155674 h 311348"/>
                  <a:gd name="csX8" fmla="*/ 127090 w 254184"/>
                  <a:gd name="csY8" fmla="*/ 51085 h 311348"/>
                  <a:gd name="csX9" fmla="*/ 72363 w 254184"/>
                  <a:gd name="csY9" fmla="*/ 155674 h 31134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</a:cxnLst>
                <a:rect l="l" t="t" r="r" b="b"/>
                <a:pathLst>
                  <a:path w="254184" h="311348">
                    <a:moveTo>
                      <a:pt x="0" y="155674"/>
                    </a:moveTo>
                    <a:cubicBezTo>
                      <a:pt x="0" y="59596"/>
                      <a:pt x="48648" y="0"/>
                      <a:pt x="127090" y="0"/>
                    </a:cubicBezTo>
                    <a:cubicBezTo>
                      <a:pt x="204927" y="0"/>
                      <a:pt x="254184" y="59596"/>
                      <a:pt x="254184" y="155674"/>
                    </a:cubicBezTo>
                    <a:cubicBezTo>
                      <a:pt x="254184" y="251761"/>
                      <a:pt x="205536" y="311348"/>
                      <a:pt x="127090" y="311348"/>
                    </a:cubicBezTo>
                    <a:cubicBezTo>
                      <a:pt x="48648" y="311348"/>
                      <a:pt x="0" y="251761"/>
                      <a:pt x="0" y="155674"/>
                    </a:cubicBezTo>
                    <a:close/>
                    <a:moveTo>
                      <a:pt x="72363" y="155674"/>
                    </a:moveTo>
                    <a:cubicBezTo>
                      <a:pt x="72363" y="210406"/>
                      <a:pt x="79051" y="260272"/>
                      <a:pt x="127090" y="260272"/>
                    </a:cubicBezTo>
                    <a:cubicBezTo>
                      <a:pt x="175134" y="260272"/>
                      <a:pt x="181821" y="211010"/>
                      <a:pt x="181821" y="155674"/>
                    </a:cubicBezTo>
                    <a:cubicBezTo>
                      <a:pt x="181821" y="100952"/>
                      <a:pt x="174524" y="51085"/>
                      <a:pt x="127090" y="51085"/>
                    </a:cubicBezTo>
                    <a:cubicBezTo>
                      <a:pt x="79660" y="51085"/>
                      <a:pt x="72363" y="100952"/>
                      <a:pt x="72363" y="155674"/>
                    </a:cubicBez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" name="Volný tvar: obrazec 26">
                <a:extLst>
                  <a:ext uri="{FF2B5EF4-FFF2-40B4-BE49-F238E27FC236}">
                    <a16:creationId xmlns:a16="http://schemas.microsoft.com/office/drawing/2014/main" id="{4309FDE8-B03E-0472-D8C3-EE0264BEC3CC}"/>
                  </a:ext>
                </a:extLst>
              </p:cNvPr>
              <p:cNvSpPr/>
              <p:nvPr/>
            </p:nvSpPr>
            <p:spPr>
              <a:xfrm>
                <a:off x="8410167" y="3909440"/>
                <a:ext cx="205276" cy="396410"/>
              </a:xfrm>
              <a:custGeom>
                <a:avLst/>
                <a:gdLst>
                  <a:gd name="csX0" fmla="*/ 51685 w 205276"/>
                  <a:gd name="csY0" fmla="*/ 283916 h 396410"/>
                  <a:gd name="csX1" fmla="*/ 51685 w 205276"/>
                  <a:gd name="csY1" fmla="*/ 142231 h 396410"/>
                  <a:gd name="csX2" fmla="*/ 3646 w 205276"/>
                  <a:gd name="csY2" fmla="*/ 142231 h 396410"/>
                  <a:gd name="csX3" fmla="*/ 0 w 205276"/>
                  <a:gd name="csY3" fmla="*/ 138576 h 396410"/>
                  <a:gd name="csX4" fmla="*/ 0 w 205276"/>
                  <a:gd name="csY4" fmla="*/ 99052 h 396410"/>
                  <a:gd name="csX5" fmla="*/ 3646 w 205276"/>
                  <a:gd name="csY5" fmla="*/ 95406 h 396410"/>
                  <a:gd name="csX6" fmla="*/ 51685 w 205276"/>
                  <a:gd name="csY6" fmla="*/ 95406 h 396410"/>
                  <a:gd name="csX7" fmla="*/ 51685 w 205276"/>
                  <a:gd name="csY7" fmla="*/ 13913 h 396410"/>
                  <a:gd name="csX8" fmla="*/ 57159 w 205276"/>
                  <a:gd name="csY8" fmla="*/ 7839 h 396410"/>
                  <a:gd name="csX9" fmla="*/ 110672 w 205276"/>
                  <a:gd name="csY9" fmla="*/ 537 h 396410"/>
                  <a:gd name="csX10" fmla="*/ 117970 w 205276"/>
                  <a:gd name="csY10" fmla="*/ 537 h 396410"/>
                  <a:gd name="csX11" fmla="*/ 119188 w 205276"/>
                  <a:gd name="csY11" fmla="*/ 6016 h 396410"/>
                  <a:gd name="csX12" fmla="*/ 119188 w 205276"/>
                  <a:gd name="csY12" fmla="*/ 95406 h 396410"/>
                  <a:gd name="csX13" fmla="*/ 193888 w 205276"/>
                  <a:gd name="csY13" fmla="*/ 95406 h 396410"/>
                  <a:gd name="csX14" fmla="*/ 198239 w 205276"/>
                  <a:gd name="csY14" fmla="*/ 100876 h 396410"/>
                  <a:gd name="csX15" fmla="*/ 190337 w 205276"/>
                  <a:gd name="csY15" fmla="*/ 136752 h 396410"/>
                  <a:gd name="csX16" fmla="*/ 184254 w 205276"/>
                  <a:gd name="csY16" fmla="*/ 142231 h 396410"/>
                  <a:gd name="csX17" fmla="*/ 119188 w 205276"/>
                  <a:gd name="csY17" fmla="*/ 142231 h 396410"/>
                  <a:gd name="csX18" fmla="*/ 119188 w 205276"/>
                  <a:gd name="csY18" fmla="*/ 294250 h 396410"/>
                  <a:gd name="csX19" fmla="*/ 144726 w 205276"/>
                  <a:gd name="csY19" fmla="*/ 336210 h 396410"/>
                  <a:gd name="csX20" fmla="*/ 176347 w 205276"/>
                  <a:gd name="csY20" fmla="*/ 330136 h 396410"/>
                  <a:gd name="csX21" fmla="*/ 186077 w 205276"/>
                  <a:gd name="csY21" fmla="*/ 326480 h 396410"/>
                  <a:gd name="csX22" fmla="*/ 193674 w 205276"/>
                  <a:gd name="csY22" fmla="*/ 330104 h 396410"/>
                  <a:gd name="csX23" fmla="*/ 204932 w 205276"/>
                  <a:gd name="csY23" fmla="*/ 374524 h 396410"/>
                  <a:gd name="csX24" fmla="*/ 204322 w 205276"/>
                  <a:gd name="csY24" fmla="*/ 378784 h 396410"/>
                  <a:gd name="csX25" fmla="*/ 125267 w 205276"/>
                  <a:gd name="csY25" fmla="*/ 396411 h 396410"/>
                  <a:gd name="csX26" fmla="*/ 51685 w 205276"/>
                  <a:gd name="csY26" fmla="*/ 283916 h 39641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</a:cxnLst>
                <a:rect l="l" t="t" r="r" b="b"/>
                <a:pathLst>
                  <a:path w="205276" h="396410">
                    <a:moveTo>
                      <a:pt x="51685" y="283916"/>
                    </a:moveTo>
                    <a:lnTo>
                      <a:pt x="51685" y="142231"/>
                    </a:lnTo>
                    <a:lnTo>
                      <a:pt x="3646" y="142231"/>
                    </a:lnTo>
                    <a:cubicBezTo>
                      <a:pt x="609" y="142231"/>
                      <a:pt x="0" y="141617"/>
                      <a:pt x="0" y="138576"/>
                    </a:cubicBezTo>
                    <a:lnTo>
                      <a:pt x="0" y="99052"/>
                    </a:lnTo>
                    <a:cubicBezTo>
                      <a:pt x="0" y="96011"/>
                      <a:pt x="609" y="95406"/>
                      <a:pt x="3646" y="95406"/>
                    </a:cubicBezTo>
                    <a:lnTo>
                      <a:pt x="51685" y="95406"/>
                    </a:lnTo>
                    <a:lnTo>
                      <a:pt x="51685" y="13913"/>
                    </a:lnTo>
                    <a:cubicBezTo>
                      <a:pt x="51685" y="9662"/>
                      <a:pt x="52294" y="8444"/>
                      <a:pt x="57159" y="7839"/>
                    </a:cubicBezTo>
                    <a:lnTo>
                      <a:pt x="110672" y="537"/>
                    </a:lnTo>
                    <a:cubicBezTo>
                      <a:pt x="112500" y="537"/>
                      <a:pt x="116756" y="-672"/>
                      <a:pt x="117970" y="537"/>
                    </a:cubicBezTo>
                    <a:cubicBezTo>
                      <a:pt x="119188" y="1756"/>
                      <a:pt x="119188" y="2361"/>
                      <a:pt x="119188" y="6016"/>
                    </a:cubicBezTo>
                    <a:lnTo>
                      <a:pt x="119188" y="95406"/>
                    </a:lnTo>
                    <a:cubicBezTo>
                      <a:pt x="119188" y="95406"/>
                      <a:pt x="189656" y="95406"/>
                      <a:pt x="193888" y="95406"/>
                    </a:cubicBezTo>
                    <a:cubicBezTo>
                      <a:pt x="199126" y="95406"/>
                      <a:pt x="199397" y="95718"/>
                      <a:pt x="198239" y="100876"/>
                    </a:cubicBezTo>
                    <a:cubicBezTo>
                      <a:pt x="196934" y="106692"/>
                      <a:pt x="190337" y="136752"/>
                      <a:pt x="190337" y="136752"/>
                    </a:cubicBezTo>
                    <a:cubicBezTo>
                      <a:pt x="189119" y="141617"/>
                      <a:pt x="188509" y="142231"/>
                      <a:pt x="184254" y="142231"/>
                    </a:cubicBezTo>
                    <a:lnTo>
                      <a:pt x="119188" y="142231"/>
                    </a:lnTo>
                    <a:lnTo>
                      <a:pt x="119188" y="294250"/>
                    </a:lnTo>
                    <a:cubicBezTo>
                      <a:pt x="119188" y="316751"/>
                      <a:pt x="121011" y="336210"/>
                      <a:pt x="144726" y="336210"/>
                    </a:cubicBezTo>
                    <a:cubicBezTo>
                      <a:pt x="157497" y="336210"/>
                      <a:pt x="168441" y="333168"/>
                      <a:pt x="176347" y="330136"/>
                    </a:cubicBezTo>
                    <a:cubicBezTo>
                      <a:pt x="179998" y="328917"/>
                      <a:pt x="183026" y="327674"/>
                      <a:pt x="186077" y="326480"/>
                    </a:cubicBezTo>
                    <a:cubicBezTo>
                      <a:pt x="191423" y="324389"/>
                      <a:pt x="193112" y="327914"/>
                      <a:pt x="193674" y="330104"/>
                    </a:cubicBezTo>
                    <a:cubicBezTo>
                      <a:pt x="193674" y="330104"/>
                      <a:pt x="204451" y="372671"/>
                      <a:pt x="204932" y="374524"/>
                    </a:cubicBezTo>
                    <a:cubicBezTo>
                      <a:pt x="205413" y="376377"/>
                      <a:pt x="205536" y="377566"/>
                      <a:pt x="204322" y="378784"/>
                    </a:cubicBezTo>
                    <a:cubicBezTo>
                      <a:pt x="195807" y="388514"/>
                      <a:pt x="163576" y="396411"/>
                      <a:pt x="125267" y="396411"/>
                    </a:cubicBezTo>
                    <a:cubicBezTo>
                      <a:pt x="52294" y="396411"/>
                      <a:pt x="51685" y="341075"/>
                      <a:pt x="51685" y="283916"/>
                    </a:cubicBez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" name="Volný tvar: obrazec 27">
                <a:extLst>
                  <a:ext uri="{FF2B5EF4-FFF2-40B4-BE49-F238E27FC236}">
                    <a16:creationId xmlns:a16="http://schemas.microsoft.com/office/drawing/2014/main" id="{79695212-38AF-9288-DF5D-30BFF8495314}"/>
                  </a:ext>
                </a:extLst>
              </p:cNvPr>
              <p:cNvSpPr/>
              <p:nvPr/>
            </p:nvSpPr>
            <p:spPr>
              <a:xfrm>
                <a:off x="8654594" y="3994503"/>
                <a:ext cx="245064" cy="311348"/>
              </a:xfrm>
              <a:custGeom>
                <a:avLst/>
                <a:gdLst>
                  <a:gd name="csX0" fmla="*/ 67498 w 245064"/>
                  <a:gd name="csY0" fmla="*/ 171487 h 311348"/>
                  <a:gd name="csX1" fmla="*/ 139257 w 245064"/>
                  <a:gd name="csY1" fmla="*/ 257231 h 311348"/>
                  <a:gd name="csX2" fmla="*/ 192770 w 245064"/>
                  <a:gd name="csY2" fmla="*/ 246897 h 311348"/>
                  <a:gd name="csX3" fmla="*/ 201035 w 245064"/>
                  <a:gd name="csY3" fmla="*/ 243621 h 311348"/>
                  <a:gd name="csX4" fmla="*/ 209187 w 245064"/>
                  <a:gd name="csY4" fmla="*/ 239703 h 311348"/>
                  <a:gd name="csX5" fmla="*/ 215875 w 245064"/>
                  <a:gd name="csY5" fmla="*/ 237167 h 311348"/>
                  <a:gd name="csX6" fmla="*/ 218917 w 245064"/>
                  <a:gd name="csY6" fmla="*/ 239595 h 311348"/>
                  <a:gd name="csX7" fmla="*/ 235334 w 245064"/>
                  <a:gd name="csY7" fmla="*/ 276690 h 311348"/>
                  <a:gd name="csX8" fmla="*/ 234725 w 245064"/>
                  <a:gd name="csY8" fmla="*/ 282160 h 311348"/>
                  <a:gd name="csX9" fmla="*/ 131350 w 245064"/>
                  <a:gd name="csY9" fmla="*/ 311348 h 311348"/>
                  <a:gd name="csX10" fmla="*/ 0 w 245064"/>
                  <a:gd name="csY10" fmla="*/ 158716 h 311348"/>
                  <a:gd name="csX11" fmla="*/ 128308 w 245064"/>
                  <a:gd name="csY11" fmla="*/ 0 h 311348"/>
                  <a:gd name="csX12" fmla="*/ 245064 w 245064"/>
                  <a:gd name="csY12" fmla="*/ 161153 h 311348"/>
                  <a:gd name="csX13" fmla="*/ 235944 w 245064"/>
                  <a:gd name="csY13" fmla="*/ 171487 h 311348"/>
                  <a:gd name="csX14" fmla="*/ 67498 w 245064"/>
                  <a:gd name="csY14" fmla="*/ 171487 h 311348"/>
                  <a:gd name="csX15" fmla="*/ 76619 w 245064"/>
                  <a:gd name="csY15" fmla="*/ 77232 h 311348"/>
                  <a:gd name="csX16" fmla="*/ 66889 w 245064"/>
                  <a:gd name="csY16" fmla="*/ 124662 h 311348"/>
                  <a:gd name="csX17" fmla="*/ 172701 w 245064"/>
                  <a:gd name="csY17" fmla="*/ 124662 h 311348"/>
                  <a:gd name="csX18" fmla="*/ 124053 w 245064"/>
                  <a:gd name="csY18" fmla="*/ 46825 h 311348"/>
                  <a:gd name="csX19" fmla="*/ 76619 w 245064"/>
                  <a:gd name="csY19" fmla="*/ 77232 h 31134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</a:cxnLst>
                <a:rect l="l" t="t" r="r" b="b"/>
                <a:pathLst>
                  <a:path w="245064" h="311348">
                    <a:moveTo>
                      <a:pt x="67498" y="171487"/>
                    </a:moveTo>
                    <a:cubicBezTo>
                      <a:pt x="67498" y="211010"/>
                      <a:pt x="77837" y="257231"/>
                      <a:pt x="139257" y="257231"/>
                    </a:cubicBezTo>
                    <a:cubicBezTo>
                      <a:pt x="161753" y="257231"/>
                      <a:pt x="179998" y="251761"/>
                      <a:pt x="192770" y="246897"/>
                    </a:cubicBezTo>
                    <a:cubicBezTo>
                      <a:pt x="195770" y="245803"/>
                      <a:pt x="198525" y="244712"/>
                      <a:pt x="201035" y="243621"/>
                    </a:cubicBezTo>
                    <a:cubicBezTo>
                      <a:pt x="204121" y="242280"/>
                      <a:pt x="206769" y="240877"/>
                      <a:pt x="209187" y="239703"/>
                    </a:cubicBezTo>
                    <a:cubicBezTo>
                      <a:pt x="211606" y="238528"/>
                      <a:pt x="214052" y="237167"/>
                      <a:pt x="215875" y="237167"/>
                    </a:cubicBezTo>
                    <a:cubicBezTo>
                      <a:pt x="217094" y="237167"/>
                      <a:pt x="218308" y="238376"/>
                      <a:pt x="218917" y="239595"/>
                    </a:cubicBezTo>
                    <a:lnTo>
                      <a:pt x="235334" y="276690"/>
                    </a:lnTo>
                    <a:cubicBezTo>
                      <a:pt x="236501" y="279328"/>
                      <a:pt x="235944" y="280950"/>
                      <a:pt x="234725" y="282160"/>
                    </a:cubicBezTo>
                    <a:cubicBezTo>
                      <a:pt x="223782" y="294326"/>
                      <a:pt x="176957" y="311348"/>
                      <a:pt x="131350" y="311348"/>
                    </a:cubicBezTo>
                    <a:cubicBezTo>
                      <a:pt x="54118" y="311348"/>
                      <a:pt x="0" y="268179"/>
                      <a:pt x="0" y="158716"/>
                    </a:cubicBezTo>
                    <a:cubicBezTo>
                      <a:pt x="0" y="63857"/>
                      <a:pt x="50471" y="0"/>
                      <a:pt x="128308" y="0"/>
                    </a:cubicBezTo>
                    <a:cubicBezTo>
                      <a:pt x="226823" y="0"/>
                      <a:pt x="245064" y="86962"/>
                      <a:pt x="245064" y="161153"/>
                    </a:cubicBezTo>
                    <a:cubicBezTo>
                      <a:pt x="245064" y="170883"/>
                      <a:pt x="244455" y="171487"/>
                      <a:pt x="235944" y="171487"/>
                    </a:cubicBezTo>
                    <a:lnTo>
                      <a:pt x="67498" y="171487"/>
                    </a:lnTo>
                    <a:close/>
                    <a:moveTo>
                      <a:pt x="76619" y="77232"/>
                    </a:moveTo>
                    <a:cubicBezTo>
                      <a:pt x="69931" y="92432"/>
                      <a:pt x="68712" y="108245"/>
                      <a:pt x="66889" y="124662"/>
                    </a:cubicBezTo>
                    <a:lnTo>
                      <a:pt x="172701" y="124662"/>
                    </a:lnTo>
                    <a:cubicBezTo>
                      <a:pt x="172701" y="93045"/>
                      <a:pt x="169659" y="46825"/>
                      <a:pt x="124053" y="46825"/>
                    </a:cubicBezTo>
                    <a:cubicBezTo>
                      <a:pt x="97901" y="46825"/>
                      <a:pt x="83916" y="61420"/>
                      <a:pt x="76619" y="77232"/>
                    </a:cubicBez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" name="Volný tvar: obrazec 28">
                <a:extLst>
                  <a:ext uri="{FF2B5EF4-FFF2-40B4-BE49-F238E27FC236}">
                    <a16:creationId xmlns:a16="http://schemas.microsoft.com/office/drawing/2014/main" id="{995A06B2-95E1-7471-F4A4-FF3C403BCF2B}"/>
                  </a:ext>
                </a:extLst>
              </p:cNvPr>
              <p:cNvSpPr/>
              <p:nvPr/>
            </p:nvSpPr>
            <p:spPr>
              <a:xfrm>
                <a:off x="8948878" y="3871008"/>
                <a:ext cx="217610" cy="434843"/>
              </a:xfrm>
              <a:custGeom>
                <a:avLst/>
                <a:gdLst>
                  <a:gd name="csX0" fmla="*/ 211010 w 217610"/>
                  <a:gd name="csY0" fmla="*/ 405050 h 434843"/>
                  <a:gd name="csX1" fmla="*/ 209797 w 217610"/>
                  <a:gd name="csY1" fmla="*/ 409914 h 434843"/>
                  <a:gd name="csX2" fmla="*/ 203953 w 217610"/>
                  <a:gd name="csY2" fmla="*/ 414464 h 434843"/>
                  <a:gd name="csX3" fmla="*/ 130132 w 217610"/>
                  <a:gd name="csY3" fmla="*/ 434843 h 434843"/>
                  <a:gd name="csX4" fmla="*/ 0 w 217610"/>
                  <a:gd name="csY4" fmla="*/ 285252 h 434843"/>
                  <a:gd name="csX5" fmla="*/ 136824 w 217610"/>
                  <a:gd name="csY5" fmla="*/ 123495 h 434843"/>
                  <a:gd name="csX6" fmla="*/ 216484 w 217610"/>
                  <a:gd name="csY6" fmla="*/ 152684 h 434843"/>
                  <a:gd name="csX7" fmla="*/ 217089 w 217610"/>
                  <a:gd name="csY7" fmla="*/ 158162 h 434843"/>
                  <a:gd name="csX8" fmla="*/ 196416 w 217610"/>
                  <a:gd name="csY8" fmla="*/ 195258 h 434843"/>
                  <a:gd name="csX9" fmla="*/ 190337 w 217610"/>
                  <a:gd name="csY9" fmla="*/ 195862 h 434843"/>
                  <a:gd name="csX10" fmla="*/ 177566 w 217610"/>
                  <a:gd name="csY10" fmla="*/ 187351 h 434843"/>
                  <a:gd name="csX11" fmla="*/ 159812 w 217610"/>
                  <a:gd name="csY11" fmla="*/ 178655 h 434843"/>
                  <a:gd name="csX12" fmla="*/ 136824 w 217610"/>
                  <a:gd name="csY12" fmla="*/ 174580 h 434843"/>
                  <a:gd name="csX13" fmla="*/ 72363 w 217610"/>
                  <a:gd name="csY13" fmla="*/ 281001 h 434843"/>
                  <a:gd name="csX14" fmla="*/ 139861 w 217610"/>
                  <a:gd name="csY14" fmla="*/ 383767 h 434843"/>
                  <a:gd name="csX15" fmla="*/ 163176 w 217610"/>
                  <a:gd name="csY15" fmla="*/ 379792 h 434843"/>
                  <a:gd name="csX16" fmla="*/ 176957 w 217610"/>
                  <a:gd name="csY16" fmla="*/ 372819 h 434843"/>
                  <a:gd name="csX17" fmla="*/ 189119 w 217610"/>
                  <a:gd name="csY17" fmla="*/ 364913 h 434843"/>
                  <a:gd name="csX18" fmla="*/ 195202 w 217610"/>
                  <a:gd name="csY18" fmla="*/ 366131 h 434843"/>
                  <a:gd name="csX19" fmla="*/ 211010 w 217610"/>
                  <a:gd name="csY19" fmla="*/ 405050 h 434843"/>
                  <a:gd name="csX20" fmla="*/ 123249 w 217610"/>
                  <a:gd name="csY20" fmla="*/ 92490 h 434843"/>
                  <a:gd name="csX21" fmla="*/ 121011 w 217610"/>
                  <a:gd name="csY21" fmla="*/ 93701 h 434843"/>
                  <a:gd name="csX22" fmla="*/ 118205 w 217610"/>
                  <a:gd name="csY22" fmla="*/ 92221 h 434843"/>
                  <a:gd name="csX23" fmla="*/ 46820 w 217610"/>
                  <a:gd name="csY23" fmla="*/ 35928 h 434843"/>
                  <a:gd name="csX24" fmla="*/ 42717 w 217610"/>
                  <a:gd name="csY24" fmla="*/ 32410 h 434843"/>
                  <a:gd name="csX25" fmla="*/ 42330 w 217610"/>
                  <a:gd name="csY25" fmla="*/ 28570 h 434843"/>
                  <a:gd name="csX26" fmla="*/ 44393 w 217610"/>
                  <a:gd name="csY26" fmla="*/ 24989 h 434843"/>
                  <a:gd name="csX27" fmla="*/ 57675 w 217610"/>
                  <a:gd name="csY27" fmla="*/ 2487 h 434843"/>
                  <a:gd name="csX28" fmla="*/ 62944 w 217610"/>
                  <a:gd name="csY28" fmla="*/ 1063 h 434843"/>
                  <a:gd name="csX29" fmla="*/ 121011 w 217610"/>
                  <a:gd name="csY29" fmla="*/ 34105 h 434843"/>
                  <a:gd name="csX30" fmla="*/ 178554 w 217610"/>
                  <a:gd name="csY30" fmla="*/ 1345 h 434843"/>
                  <a:gd name="csX31" fmla="*/ 184287 w 217610"/>
                  <a:gd name="csY31" fmla="*/ 2421 h 434843"/>
                  <a:gd name="csX32" fmla="*/ 199242 w 217610"/>
                  <a:gd name="csY32" fmla="*/ 27799 h 434843"/>
                  <a:gd name="csX33" fmla="*/ 198626 w 217610"/>
                  <a:gd name="csY33" fmla="*/ 33066 h 434843"/>
                  <a:gd name="csX34" fmla="*/ 123249 w 217610"/>
                  <a:gd name="csY34" fmla="*/ 92490 h 434843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17610" h="434843">
                    <a:moveTo>
                      <a:pt x="211010" y="405050"/>
                    </a:moveTo>
                    <a:cubicBezTo>
                      <a:pt x="211849" y="407118"/>
                      <a:pt x="211219" y="408596"/>
                      <a:pt x="209797" y="409914"/>
                    </a:cubicBezTo>
                    <a:cubicBezTo>
                      <a:pt x="208040" y="411544"/>
                      <a:pt x="206273" y="412920"/>
                      <a:pt x="203953" y="414464"/>
                    </a:cubicBezTo>
                    <a:cubicBezTo>
                      <a:pt x="189061" y="424377"/>
                      <a:pt x="159596" y="434843"/>
                      <a:pt x="130132" y="434843"/>
                    </a:cubicBezTo>
                    <a:cubicBezTo>
                      <a:pt x="48648" y="434843"/>
                      <a:pt x="0" y="385590"/>
                      <a:pt x="0" y="285252"/>
                    </a:cubicBezTo>
                    <a:cubicBezTo>
                      <a:pt x="0" y="184310"/>
                      <a:pt x="50471" y="123495"/>
                      <a:pt x="136824" y="123495"/>
                    </a:cubicBezTo>
                    <a:cubicBezTo>
                      <a:pt x="167227" y="123495"/>
                      <a:pt x="202495" y="136266"/>
                      <a:pt x="216484" y="152684"/>
                    </a:cubicBezTo>
                    <a:cubicBezTo>
                      <a:pt x="217089" y="153298"/>
                      <a:pt x="218308" y="155725"/>
                      <a:pt x="217089" y="158162"/>
                    </a:cubicBezTo>
                    <a:cubicBezTo>
                      <a:pt x="217089" y="158162"/>
                      <a:pt x="197848" y="192751"/>
                      <a:pt x="196416" y="195258"/>
                    </a:cubicBezTo>
                    <a:cubicBezTo>
                      <a:pt x="194985" y="197764"/>
                      <a:pt x="192687" y="197596"/>
                      <a:pt x="190337" y="195862"/>
                    </a:cubicBezTo>
                    <a:cubicBezTo>
                      <a:pt x="186686" y="193435"/>
                      <a:pt x="185613" y="192290"/>
                      <a:pt x="177566" y="187351"/>
                    </a:cubicBezTo>
                    <a:cubicBezTo>
                      <a:pt x="173401" y="184795"/>
                      <a:pt x="167193" y="181274"/>
                      <a:pt x="159812" y="178655"/>
                    </a:cubicBezTo>
                    <a:cubicBezTo>
                      <a:pt x="152933" y="176214"/>
                      <a:pt x="145036" y="174580"/>
                      <a:pt x="136824" y="174580"/>
                    </a:cubicBezTo>
                    <a:cubicBezTo>
                      <a:pt x="90604" y="174580"/>
                      <a:pt x="72363" y="211061"/>
                      <a:pt x="72363" y="281001"/>
                    </a:cubicBezTo>
                    <a:cubicBezTo>
                      <a:pt x="72363" y="347890"/>
                      <a:pt x="88176" y="383767"/>
                      <a:pt x="139861" y="383767"/>
                    </a:cubicBezTo>
                    <a:cubicBezTo>
                      <a:pt x="149122" y="383767"/>
                      <a:pt x="156763" y="382150"/>
                      <a:pt x="163176" y="379792"/>
                    </a:cubicBezTo>
                    <a:cubicBezTo>
                      <a:pt x="168556" y="377815"/>
                      <a:pt x="172909" y="375303"/>
                      <a:pt x="176957" y="372819"/>
                    </a:cubicBezTo>
                    <a:cubicBezTo>
                      <a:pt x="181005" y="370335"/>
                      <a:pt x="186077" y="366736"/>
                      <a:pt x="189119" y="364913"/>
                    </a:cubicBezTo>
                    <a:cubicBezTo>
                      <a:pt x="192160" y="363089"/>
                      <a:pt x="194593" y="364308"/>
                      <a:pt x="195202" y="366131"/>
                    </a:cubicBezTo>
                    <a:cubicBezTo>
                      <a:pt x="195202" y="366131"/>
                      <a:pt x="210172" y="402981"/>
                      <a:pt x="211010" y="405050"/>
                    </a:cubicBezTo>
                    <a:close/>
                    <a:moveTo>
                      <a:pt x="123249" y="92490"/>
                    </a:moveTo>
                    <a:cubicBezTo>
                      <a:pt x="122375" y="93178"/>
                      <a:pt x="121525" y="93701"/>
                      <a:pt x="121011" y="93701"/>
                    </a:cubicBezTo>
                    <a:cubicBezTo>
                      <a:pt x="120430" y="93701"/>
                      <a:pt x="119262" y="93057"/>
                      <a:pt x="118205" y="92221"/>
                    </a:cubicBezTo>
                    <a:cubicBezTo>
                      <a:pt x="112341" y="87582"/>
                      <a:pt x="49139" y="37779"/>
                      <a:pt x="46820" y="35928"/>
                    </a:cubicBezTo>
                    <a:cubicBezTo>
                      <a:pt x="44503" y="34077"/>
                      <a:pt x="43935" y="33629"/>
                      <a:pt x="42717" y="32410"/>
                    </a:cubicBezTo>
                    <a:cubicBezTo>
                      <a:pt x="41514" y="31393"/>
                      <a:pt x="41379" y="30372"/>
                      <a:pt x="42330" y="28570"/>
                    </a:cubicBezTo>
                    <a:cubicBezTo>
                      <a:pt x="43093" y="27123"/>
                      <a:pt x="43583" y="26409"/>
                      <a:pt x="44393" y="24989"/>
                    </a:cubicBezTo>
                    <a:cubicBezTo>
                      <a:pt x="45202" y="23570"/>
                      <a:pt x="54659" y="7544"/>
                      <a:pt x="57675" y="2487"/>
                    </a:cubicBezTo>
                    <a:cubicBezTo>
                      <a:pt x="59511" y="-593"/>
                      <a:pt x="60438" y="-370"/>
                      <a:pt x="62944" y="1063"/>
                    </a:cubicBezTo>
                    <a:cubicBezTo>
                      <a:pt x="69086" y="4575"/>
                      <a:pt x="121011" y="34105"/>
                      <a:pt x="121011" y="34105"/>
                    </a:cubicBezTo>
                    <a:cubicBezTo>
                      <a:pt x="121011" y="34105"/>
                      <a:pt x="173161" y="4435"/>
                      <a:pt x="178554" y="1345"/>
                    </a:cubicBezTo>
                    <a:cubicBezTo>
                      <a:pt x="182005" y="-632"/>
                      <a:pt x="182545" y="-557"/>
                      <a:pt x="184287" y="2421"/>
                    </a:cubicBezTo>
                    <a:cubicBezTo>
                      <a:pt x="186776" y="6676"/>
                      <a:pt x="196914" y="23867"/>
                      <a:pt x="199242" y="27799"/>
                    </a:cubicBezTo>
                    <a:cubicBezTo>
                      <a:pt x="201135" y="30995"/>
                      <a:pt x="201117" y="31052"/>
                      <a:pt x="198626" y="33066"/>
                    </a:cubicBezTo>
                    <a:cubicBezTo>
                      <a:pt x="196135" y="35080"/>
                      <a:pt x="128954" y="88003"/>
                      <a:pt x="123249" y="92490"/>
                    </a:cubicBez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" name="Volný tvar: obrazec 29">
                <a:extLst>
                  <a:ext uri="{FF2B5EF4-FFF2-40B4-BE49-F238E27FC236}">
                    <a16:creationId xmlns:a16="http://schemas.microsoft.com/office/drawing/2014/main" id="{A609962B-E34F-432F-C98D-1DA5C3E64131}"/>
                  </a:ext>
                </a:extLst>
              </p:cNvPr>
              <p:cNvSpPr/>
              <p:nvPr/>
            </p:nvSpPr>
            <p:spPr>
              <a:xfrm>
                <a:off x="9210070" y="3994503"/>
                <a:ext cx="243494" cy="301014"/>
              </a:xfrm>
              <a:custGeom>
                <a:avLst/>
                <a:gdLst>
                  <a:gd name="csX0" fmla="*/ 179642 w 243494"/>
                  <a:gd name="csY0" fmla="*/ 301014 h 301014"/>
                  <a:gd name="csX1" fmla="*/ 175996 w 243494"/>
                  <a:gd name="csY1" fmla="*/ 297368 h 301014"/>
                  <a:gd name="csX2" fmla="*/ 175996 w 243494"/>
                  <a:gd name="csY2" fmla="*/ 110068 h 301014"/>
                  <a:gd name="csX3" fmla="*/ 137077 w 243494"/>
                  <a:gd name="csY3" fmla="*/ 54127 h 301014"/>
                  <a:gd name="csX4" fmla="*/ 78700 w 243494"/>
                  <a:gd name="csY4" fmla="*/ 81493 h 301014"/>
                  <a:gd name="csX5" fmla="*/ 78700 w 243494"/>
                  <a:gd name="csY5" fmla="*/ 297368 h 301014"/>
                  <a:gd name="csX6" fmla="*/ 75053 w 243494"/>
                  <a:gd name="csY6" fmla="*/ 301014 h 301014"/>
                  <a:gd name="csX7" fmla="*/ 14848 w 243494"/>
                  <a:gd name="csY7" fmla="*/ 301014 h 301014"/>
                  <a:gd name="csX8" fmla="*/ 11201 w 243494"/>
                  <a:gd name="csY8" fmla="*/ 297368 h 301014"/>
                  <a:gd name="csX9" fmla="*/ 11201 w 243494"/>
                  <a:gd name="csY9" fmla="*/ 113714 h 301014"/>
                  <a:gd name="csX10" fmla="*/ 5118 w 243494"/>
                  <a:gd name="csY10" fmla="*/ 38314 h 301014"/>
                  <a:gd name="csX11" fmla="*/ 862 w 243494"/>
                  <a:gd name="csY11" fmla="*/ 25543 h 301014"/>
                  <a:gd name="csX12" fmla="*/ 253 w 243494"/>
                  <a:gd name="csY12" fmla="*/ 20073 h 301014"/>
                  <a:gd name="csX13" fmla="*/ 2686 w 243494"/>
                  <a:gd name="csY13" fmla="*/ 17032 h 301014"/>
                  <a:gd name="csX14" fmla="*/ 48901 w 243494"/>
                  <a:gd name="csY14" fmla="*/ 1832 h 301014"/>
                  <a:gd name="csX15" fmla="*/ 58631 w 243494"/>
                  <a:gd name="csY15" fmla="*/ 1219 h 301014"/>
                  <a:gd name="csX16" fmla="*/ 73225 w 243494"/>
                  <a:gd name="csY16" fmla="*/ 46220 h 301014"/>
                  <a:gd name="csX17" fmla="*/ 94513 w 243494"/>
                  <a:gd name="csY17" fmla="*/ 27366 h 301014"/>
                  <a:gd name="csX18" fmla="*/ 169308 w 243494"/>
                  <a:gd name="csY18" fmla="*/ 0 h 301014"/>
                  <a:gd name="csX19" fmla="*/ 243494 w 243494"/>
                  <a:gd name="csY19" fmla="*/ 83920 h 301014"/>
                  <a:gd name="csX20" fmla="*/ 243494 w 243494"/>
                  <a:gd name="csY20" fmla="*/ 297368 h 301014"/>
                  <a:gd name="csX21" fmla="*/ 239848 w 243494"/>
                  <a:gd name="csY21" fmla="*/ 301014 h 301014"/>
                  <a:gd name="csX22" fmla="*/ 179642 w 243494"/>
                  <a:gd name="csY22" fmla="*/ 301014 h 30101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</a:cxnLst>
                <a:rect l="l" t="t" r="r" b="b"/>
                <a:pathLst>
                  <a:path w="243494" h="301014">
                    <a:moveTo>
                      <a:pt x="179642" y="301014"/>
                    </a:moveTo>
                    <a:cubicBezTo>
                      <a:pt x="176605" y="301014"/>
                      <a:pt x="175996" y="300410"/>
                      <a:pt x="175996" y="297368"/>
                    </a:cubicBezTo>
                    <a:lnTo>
                      <a:pt x="175996" y="110068"/>
                    </a:lnTo>
                    <a:cubicBezTo>
                      <a:pt x="175996" y="88181"/>
                      <a:pt x="173563" y="54127"/>
                      <a:pt x="137077" y="54127"/>
                    </a:cubicBezTo>
                    <a:cubicBezTo>
                      <a:pt x="109712" y="54127"/>
                      <a:pt x="88429" y="72972"/>
                      <a:pt x="78700" y="81493"/>
                    </a:cubicBezTo>
                    <a:lnTo>
                      <a:pt x="78700" y="297368"/>
                    </a:lnTo>
                    <a:cubicBezTo>
                      <a:pt x="78700" y="300410"/>
                      <a:pt x="78090" y="301014"/>
                      <a:pt x="75053" y="301014"/>
                    </a:cubicBezTo>
                    <a:lnTo>
                      <a:pt x="14848" y="301014"/>
                    </a:lnTo>
                    <a:cubicBezTo>
                      <a:pt x="11811" y="301014"/>
                      <a:pt x="11201" y="300410"/>
                      <a:pt x="11201" y="297368"/>
                    </a:cubicBezTo>
                    <a:lnTo>
                      <a:pt x="11201" y="113714"/>
                    </a:lnTo>
                    <a:cubicBezTo>
                      <a:pt x="11201" y="70545"/>
                      <a:pt x="8160" y="49867"/>
                      <a:pt x="5118" y="38314"/>
                    </a:cubicBezTo>
                    <a:cubicBezTo>
                      <a:pt x="3904" y="32231"/>
                      <a:pt x="2045" y="28415"/>
                      <a:pt x="862" y="25543"/>
                    </a:cubicBezTo>
                    <a:cubicBezTo>
                      <a:pt x="-321" y="22670"/>
                      <a:pt x="-33" y="21503"/>
                      <a:pt x="253" y="20073"/>
                    </a:cubicBezTo>
                    <a:cubicBezTo>
                      <a:pt x="540" y="18644"/>
                      <a:pt x="1470" y="17531"/>
                      <a:pt x="2686" y="17032"/>
                    </a:cubicBezTo>
                    <a:cubicBezTo>
                      <a:pt x="3902" y="16532"/>
                      <a:pt x="48901" y="1832"/>
                      <a:pt x="48901" y="1832"/>
                    </a:cubicBezTo>
                    <a:cubicBezTo>
                      <a:pt x="52552" y="614"/>
                      <a:pt x="56808" y="-1209"/>
                      <a:pt x="58631" y="1219"/>
                    </a:cubicBezTo>
                    <a:cubicBezTo>
                      <a:pt x="62282" y="6083"/>
                      <a:pt x="66537" y="15813"/>
                      <a:pt x="73225" y="46220"/>
                    </a:cubicBezTo>
                    <a:cubicBezTo>
                      <a:pt x="83564" y="37095"/>
                      <a:pt x="87723" y="32992"/>
                      <a:pt x="94513" y="27366"/>
                    </a:cubicBezTo>
                    <a:cubicBezTo>
                      <a:pt x="116400" y="9730"/>
                      <a:pt x="140119" y="0"/>
                      <a:pt x="169308" y="0"/>
                    </a:cubicBezTo>
                    <a:cubicBezTo>
                      <a:pt x="200929" y="0"/>
                      <a:pt x="243494" y="13990"/>
                      <a:pt x="243494" y="83920"/>
                    </a:cubicBezTo>
                    <a:lnTo>
                      <a:pt x="243494" y="297368"/>
                    </a:lnTo>
                    <a:cubicBezTo>
                      <a:pt x="243494" y="300410"/>
                      <a:pt x="242885" y="301014"/>
                      <a:pt x="239848" y="301014"/>
                    </a:cubicBezTo>
                    <a:lnTo>
                      <a:pt x="179642" y="301014"/>
                    </a:ln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Volný tvar: obrazec 30">
                <a:extLst>
                  <a:ext uri="{FF2B5EF4-FFF2-40B4-BE49-F238E27FC236}">
                    <a16:creationId xmlns:a16="http://schemas.microsoft.com/office/drawing/2014/main" id="{E09EACEA-25F9-C1B4-BF3D-0F3BFA81D692}"/>
                  </a:ext>
                </a:extLst>
              </p:cNvPr>
              <p:cNvSpPr/>
              <p:nvPr/>
            </p:nvSpPr>
            <p:spPr>
              <a:xfrm>
                <a:off x="7760540" y="4610772"/>
                <a:ext cx="243494" cy="301014"/>
              </a:xfrm>
              <a:custGeom>
                <a:avLst/>
                <a:gdLst>
                  <a:gd name="csX0" fmla="*/ 179642 w 243494"/>
                  <a:gd name="csY0" fmla="*/ 301014 h 301014"/>
                  <a:gd name="csX1" fmla="*/ 175996 w 243494"/>
                  <a:gd name="csY1" fmla="*/ 297368 h 301014"/>
                  <a:gd name="csX2" fmla="*/ 175996 w 243494"/>
                  <a:gd name="csY2" fmla="*/ 110068 h 301014"/>
                  <a:gd name="csX3" fmla="*/ 137077 w 243494"/>
                  <a:gd name="csY3" fmla="*/ 54127 h 301014"/>
                  <a:gd name="csX4" fmla="*/ 78700 w 243494"/>
                  <a:gd name="csY4" fmla="*/ 81493 h 301014"/>
                  <a:gd name="csX5" fmla="*/ 78700 w 243494"/>
                  <a:gd name="csY5" fmla="*/ 297368 h 301014"/>
                  <a:gd name="csX6" fmla="*/ 75053 w 243494"/>
                  <a:gd name="csY6" fmla="*/ 301014 h 301014"/>
                  <a:gd name="csX7" fmla="*/ 14848 w 243494"/>
                  <a:gd name="csY7" fmla="*/ 301014 h 301014"/>
                  <a:gd name="csX8" fmla="*/ 11201 w 243494"/>
                  <a:gd name="csY8" fmla="*/ 297368 h 301014"/>
                  <a:gd name="csX9" fmla="*/ 11201 w 243494"/>
                  <a:gd name="csY9" fmla="*/ 113714 h 301014"/>
                  <a:gd name="csX10" fmla="*/ 5118 w 243494"/>
                  <a:gd name="csY10" fmla="*/ 38314 h 301014"/>
                  <a:gd name="csX11" fmla="*/ 863 w 243494"/>
                  <a:gd name="csY11" fmla="*/ 25543 h 301014"/>
                  <a:gd name="csX12" fmla="*/ 253 w 243494"/>
                  <a:gd name="csY12" fmla="*/ 20073 h 301014"/>
                  <a:gd name="csX13" fmla="*/ 2686 w 243494"/>
                  <a:gd name="csY13" fmla="*/ 17032 h 301014"/>
                  <a:gd name="csX14" fmla="*/ 48901 w 243494"/>
                  <a:gd name="csY14" fmla="*/ 1832 h 301014"/>
                  <a:gd name="csX15" fmla="*/ 58631 w 243494"/>
                  <a:gd name="csY15" fmla="*/ 1219 h 301014"/>
                  <a:gd name="csX16" fmla="*/ 73226 w 243494"/>
                  <a:gd name="csY16" fmla="*/ 46220 h 301014"/>
                  <a:gd name="csX17" fmla="*/ 94513 w 243494"/>
                  <a:gd name="csY17" fmla="*/ 27366 h 301014"/>
                  <a:gd name="csX18" fmla="*/ 169308 w 243494"/>
                  <a:gd name="csY18" fmla="*/ 0 h 301014"/>
                  <a:gd name="csX19" fmla="*/ 243494 w 243494"/>
                  <a:gd name="csY19" fmla="*/ 83920 h 301014"/>
                  <a:gd name="csX20" fmla="*/ 243494 w 243494"/>
                  <a:gd name="csY20" fmla="*/ 297368 h 301014"/>
                  <a:gd name="csX21" fmla="*/ 239848 w 243494"/>
                  <a:gd name="csY21" fmla="*/ 301014 h 301014"/>
                  <a:gd name="csX22" fmla="*/ 179642 w 243494"/>
                  <a:gd name="csY22" fmla="*/ 301014 h 30101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</a:cxnLst>
                <a:rect l="l" t="t" r="r" b="b"/>
                <a:pathLst>
                  <a:path w="243494" h="301014">
                    <a:moveTo>
                      <a:pt x="179642" y="301014"/>
                    </a:moveTo>
                    <a:cubicBezTo>
                      <a:pt x="176605" y="301014"/>
                      <a:pt x="175996" y="300410"/>
                      <a:pt x="175996" y="297368"/>
                    </a:cubicBezTo>
                    <a:lnTo>
                      <a:pt x="175996" y="110068"/>
                    </a:lnTo>
                    <a:cubicBezTo>
                      <a:pt x="175996" y="88181"/>
                      <a:pt x="173564" y="54127"/>
                      <a:pt x="137077" y="54127"/>
                    </a:cubicBezTo>
                    <a:cubicBezTo>
                      <a:pt x="109712" y="54127"/>
                      <a:pt x="88429" y="72972"/>
                      <a:pt x="78700" y="81493"/>
                    </a:cubicBezTo>
                    <a:lnTo>
                      <a:pt x="78700" y="297368"/>
                    </a:lnTo>
                    <a:cubicBezTo>
                      <a:pt x="78700" y="300410"/>
                      <a:pt x="78090" y="301014"/>
                      <a:pt x="75053" y="301014"/>
                    </a:cubicBezTo>
                    <a:lnTo>
                      <a:pt x="14848" y="301014"/>
                    </a:lnTo>
                    <a:cubicBezTo>
                      <a:pt x="11811" y="301014"/>
                      <a:pt x="11201" y="300410"/>
                      <a:pt x="11201" y="297368"/>
                    </a:cubicBezTo>
                    <a:lnTo>
                      <a:pt x="11201" y="113714"/>
                    </a:lnTo>
                    <a:cubicBezTo>
                      <a:pt x="11201" y="70545"/>
                      <a:pt x="8160" y="49867"/>
                      <a:pt x="5118" y="38314"/>
                    </a:cubicBezTo>
                    <a:cubicBezTo>
                      <a:pt x="3904" y="32231"/>
                      <a:pt x="2046" y="28415"/>
                      <a:pt x="863" y="25543"/>
                    </a:cubicBezTo>
                    <a:cubicBezTo>
                      <a:pt x="-321" y="22670"/>
                      <a:pt x="-33" y="21503"/>
                      <a:pt x="253" y="20073"/>
                    </a:cubicBezTo>
                    <a:cubicBezTo>
                      <a:pt x="540" y="18643"/>
                      <a:pt x="1469" y="17530"/>
                      <a:pt x="2686" y="17032"/>
                    </a:cubicBezTo>
                    <a:cubicBezTo>
                      <a:pt x="3902" y="16532"/>
                      <a:pt x="48901" y="1832"/>
                      <a:pt x="48901" y="1832"/>
                    </a:cubicBezTo>
                    <a:cubicBezTo>
                      <a:pt x="52552" y="614"/>
                      <a:pt x="56808" y="-1209"/>
                      <a:pt x="58631" y="1219"/>
                    </a:cubicBezTo>
                    <a:cubicBezTo>
                      <a:pt x="62282" y="6083"/>
                      <a:pt x="66538" y="15813"/>
                      <a:pt x="73226" y="46220"/>
                    </a:cubicBezTo>
                    <a:cubicBezTo>
                      <a:pt x="83564" y="37095"/>
                      <a:pt x="87723" y="32992"/>
                      <a:pt x="94513" y="27366"/>
                    </a:cubicBezTo>
                    <a:cubicBezTo>
                      <a:pt x="116400" y="9730"/>
                      <a:pt x="140119" y="0"/>
                      <a:pt x="169308" y="0"/>
                    </a:cubicBezTo>
                    <a:cubicBezTo>
                      <a:pt x="200929" y="0"/>
                      <a:pt x="243494" y="13990"/>
                      <a:pt x="243494" y="83920"/>
                    </a:cubicBezTo>
                    <a:lnTo>
                      <a:pt x="243494" y="297368"/>
                    </a:lnTo>
                    <a:cubicBezTo>
                      <a:pt x="243494" y="300410"/>
                      <a:pt x="242885" y="301014"/>
                      <a:pt x="239848" y="301014"/>
                    </a:cubicBezTo>
                    <a:lnTo>
                      <a:pt x="179642" y="301014"/>
                    </a:ln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Volný tvar: obrazec 31">
                <a:extLst>
                  <a:ext uri="{FF2B5EF4-FFF2-40B4-BE49-F238E27FC236}">
                    <a16:creationId xmlns:a16="http://schemas.microsoft.com/office/drawing/2014/main" id="{1B822AC5-F98A-68DD-08F4-AEAC3D3087B7}"/>
                  </a:ext>
                </a:extLst>
              </p:cNvPr>
              <p:cNvSpPr/>
              <p:nvPr/>
            </p:nvSpPr>
            <p:spPr>
              <a:xfrm>
                <a:off x="9506505" y="3867654"/>
                <a:ext cx="168661" cy="427862"/>
              </a:xfrm>
              <a:custGeom>
                <a:avLst/>
                <a:gdLst>
                  <a:gd name="csX0" fmla="*/ 58987 w 168661"/>
                  <a:gd name="csY0" fmla="*/ 427863 h 427862"/>
                  <a:gd name="csX1" fmla="*/ 55336 w 168661"/>
                  <a:gd name="csY1" fmla="*/ 424216 h 427862"/>
                  <a:gd name="csX2" fmla="*/ 55336 w 168661"/>
                  <a:gd name="csY2" fmla="*/ 184017 h 427862"/>
                  <a:gd name="csX3" fmla="*/ 3651 w 168661"/>
                  <a:gd name="csY3" fmla="*/ 184017 h 427862"/>
                  <a:gd name="csX4" fmla="*/ 0 w 168661"/>
                  <a:gd name="csY4" fmla="*/ 180361 h 427862"/>
                  <a:gd name="csX5" fmla="*/ 0 w 168661"/>
                  <a:gd name="csY5" fmla="*/ 140838 h 427862"/>
                  <a:gd name="csX6" fmla="*/ 3651 w 168661"/>
                  <a:gd name="csY6" fmla="*/ 137192 h 427862"/>
                  <a:gd name="csX7" fmla="*/ 119188 w 168661"/>
                  <a:gd name="csY7" fmla="*/ 137192 h 427862"/>
                  <a:gd name="csX8" fmla="*/ 122834 w 168661"/>
                  <a:gd name="csY8" fmla="*/ 140838 h 427862"/>
                  <a:gd name="csX9" fmla="*/ 122834 w 168661"/>
                  <a:gd name="csY9" fmla="*/ 424216 h 427862"/>
                  <a:gd name="csX10" fmla="*/ 119188 w 168661"/>
                  <a:gd name="csY10" fmla="*/ 427863 h 427862"/>
                  <a:gd name="csX11" fmla="*/ 58987 w 168661"/>
                  <a:gd name="csY11" fmla="*/ 427863 h 427862"/>
                  <a:gd name="csX12" fmla="*/ 53592 w 168661"/>
                  <a:gd name="csY12" fmla="*/ 95875 h 427862"/>
                  <a:gd name="csX13" fmla="*/ 46054 w 168661"/>
                  <a:gd name="csY13" fmla="*/ 93381 h 427862"/>
                  <a:gd name="csX14" fmla="*/ 34043 w 168661"/>
                  <a:gd name="csY14" fmla="*/ 69155 h 427862"/>
                  <a:gd name="csX15" fmla="*/ 36172 w 168661"/>
                  <a:gd name="csY15" fmla="*/ 62270 h 427862"/>
                  <a:gd name="csX16" fmla="*/ 140083 w 168661"/>
                  <a:gd name="csY16" fmla="*/ 1273 h 427862"/>
                  <a:gd name="csX17" fmla="*/ 146214 w 168661"/>
                  <a:gd name="csY17" fmla="*/ 2800 h 427862"/>
                  <a:gd name="csX18" fmla="*/ 167441 w 168661"/>
                  <a:gd name="csY18" fmla="*/ 44491 h 427862"/>
                  <a:gd name="csX19" fmla="*/ 165578 w 168661"/>
                  <a:gd name="csY19" fmla="*/ 51071 h 427862"/>
                  <a:gd name="csX20" fmla="*/ 53592 w 168661"/>
                  <a:gd name="csY20" fmla="*/ 95875 h 427862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</a:cxnLst>
                <a:rect l="l" t="t" r="r" b="b"/>
                <a:pathLst>
                  <a:path w="168661" h="427862">
                    <a:moveTo>
                      <a:pt x="58987" y="427863"/>
                    </a:moveTo>
                    <a:cubicBezTo>
                      <a:pt x="55945" y="427863"/>
                      <a:pt x="55336" y="427258"/>
                      <a:pt x="55336" y="424216"/>
                    </a:cubicBezTo>
                    <a:lnTo>
                      <a:pt x="55336" y="184017"/>
                    </a:lnTo>
                    <a:lnTo>
                      <a:pt x="3651" y="184017"/>
                    </a:lnTo>
                    <a:cubicBezTo>
                      <a:pt x="609" y="184017"/>
                      <a:pt x="0" y="183403"/>
                      <a:pt x="0" y="180361"/>
                    </a:cubicBezTo>
                    <a:lnTo>
                      <a:pt x="0" y="140838"/>
                    </a:lnTo>
                    <a:cubicBezTo>
                      <a:pt x="0" y="137797"/>
                      <a:pt x="609" y="137192"/>
                      <a:pt x="3651" y="137192"/>
                    </a:cubicBezTo>
                    <a:lnTo>
                      <a:pt x="119188" y="137192"/>
                    </a:lnTo>
                    <a:cubicBezTo>
                      <a:pt x="122230" y="137192"/>
                      <a:pt x="122834" y="137797"/>
                      <a:pt x="122834" y="140838"/>
                    </a:cubicBezTo>
                    <a:lnTo>
                      <a:pt x="122834" y="424216"/>
                    </a:lnTo>
                    <a:cubicBezTo>
                      <a:pt x="122834" y="427258"/>
                      <a:pt x="122230" y="427863"/>
                      <a:pt x="119188" y="427863"/>
                    </a:cubicBezTo>
                    <a:lnTo>
                      <a:pt x="58987" y="427863"/>
                    </a:lnTo>
                    <a:close/>
                    <a:moveTo>
                      <a:pt x="53592" y="95875"/>
                    </a:moveTo>
                    <a:cubicBezTo>
                      <a:pt x="48946" y="97721"/>
                      <a:pt x="48054" y="97450"/>
                      <a:pt x="46054" y="93381"/>
                    </a:cubicBezTo>
                    <a:cubicBezTo>
                      <a:pt x="44054" y="89311"/>
                      <a:pt x="37583" y="76144"/>
                      <a:pt x="34043" y="69155"/>
                    </a:cubicBezTo>
                    <a:cubicBezTo>
                      <a:pt x="32178" y="65475"/>
                      <a:pt x="32553" y="64399"/>
                      <a:pt x="36172" y="62270"/>
                    </a:cubicBezTo>
                    <a:cubicBezTo>
                      <a:pt x="44587" y="57318"/>
                      <a:pt x="130321" y="6929"/>
                      <a:pt x="140083" y="1273"/>
                    </a:cubicBezTo>
                    <a:cubicBezTo>
                      <a:pt x="143338" y="-613"/>
                      <a:pt x="144478" y="-637"/>
                      <a:pt x="146214" y="2800"/>
                    </a:cubicBezTo>
                    <a:cubicBezTo>
                      <a:pt x="148848" y="8012"/>
                      <a:pt x="162295" y="34421"/>
                      <a:pt x="167441" y="44491"/>
                    </a:cubicBezTo>
                    <a:cubicBezTo>
                      <a:pt x="169425" y="48375"/>
                      <a:pt x="169116" y="49653"/>
                      <a:pt x="165578" y="51071"/>
                    </a:cubicBezTo>
                    <a:cubicBezTo>
                      <a:pt x="151948" y="56534"/>
                      <a:pt x="63272" y="92029"/>
                      <a:pt x="53592" y="95875"/>
                    </a:cubicBez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" name="Volný tvar: obrazec 32">
                <a:extLst>
                  <a:ext uri="{FF2B5EF4-FFF2-40B4-BE49-F238E27FC236}">
                    <a16:creationId xmlns:a16="http://schemas.microsoft.com/office/drawing/2014/main" id="{82F23676-4DB5-BDA0-E338-960DDB1F854F}"/>
                  </a:ext>
                </a:extLst>
              </p:cNvPr>
              <p:cNvSpPr/>
              <p:nvPr/>
            </p:nvSpPr>
            <p:spPr>
              <a:xfrm>
                <a:off x="7175566" y="4481842"/>
                <a:ext cx="253884" cy="440278"/>
              </a:xfrm>
              <a:custGeom>
                <a:avLst/>
                <a:gdLst>
                  <a:gd name="csX0" fmla="*/ 96992 w 253884"/>
                  <a:gd name="csY0" fmla="*/ 431162 h 440278"/>
                  <a:gd name="csX1" fmla="*/ 86653 w 253884"/>
                  <a:gd name="csY1" fmla="*/ 423256 h 440278"/>
                  <a:gd name="csX2" fmla="*/ 73277 w 253884"/>
                  <a:gd name="csY2" fmla="*/ 409266 h 440278"/>
                  <a:gd name="csX3" fmla="*/ 68177 w 253884"/>
                  <a:gd name="csY3" fmla="*/ 423391 h 440278"/>
                  <a:gd name="csX4" fmla="*/ 64156 w 253884"/>
                  <a:gd name="csY4" fmla="*/ 432372 h 440278"/>
                  <a:gd name="csX5" fmla="*/ 57464 w 253884"/>
                  <a:gd name="csY5" fmla="*/ 440278 h 440278"/>
                  <a:gd name="csX6" fmla="*/ 50167 w 253884"/>
                  <a:gd name="csY6" fmla="*/ 439069 h 440278"/>
                  <a:gd name="csX7" fmla="*/ 5169 w 253884"/>
                  <a:gd name="csY7" fmla="*/ 428121 h 440278"/>
                  <a:gd name="csX8" fmla="*/ 682 w 253884"/>
                  <a:gd name="csY8" fmla="*/ 422681 h 440278"/>
                  <a:gd name="csX9" fmla="*/ 3121 w 253884"/>
                  <a:gd name="csY9" fmla="*/ 418138 h 440278"/>
                  <a:gd name="csX10" fmla="*/ 7027 w 253884"/>
                  <a:gd name="csY10" fmla="*/ 408168 h 440278"/>
                  <a:gd name="csX11" fmla="*/ 10706 w 253884"/>
                  <a:gd name="csY11" fmla="*/ 392626 h 440278"/>
                  <a:gd name="csX12" fmla="*/ 12466 w 253884"/>
                  <a:gd name="csY12" fmla="*/ 357576 h 440278"/>
                  <a:gd name="csX13" fmla="*/ 12466 w 253884"/>
                  <a:gd name="csY13" fmla="*/ 17717 h 440278"/>
                  <a:gd name="csX14" fmla="*/ 17726 w 253884"/>
                  <a:gd name="csY14" fmla="*/ 12093 h 440278"/>
                  <a:gd name="csX15" fmla="*/ 75964 w 253884"/>
                  <a:gd name="csY15" fmla="*/ 189 h 440278"/>
                  <a:gd name="csX16" fmla="*/ 79965 w 253884"/>
                  <a:gd name="csY16" fmla="*/ 4663 h 440278"/>
                  <a:gd name="csX17" fmla="*/ 79965 w 253884"/>
                  <a:gd name="csY17" fmla="*/ 160556 h 440278"/>
                  <a:gd name="csX18" fmla="*/ 112805 w 253884"/>
                  <a:gd name="csY18" fmla="*/ 138659 h 440278"/>
                  <a:gd name="csX19" fmla="*/ 152328 w 253884"/>
                  <a:gd name="csY19" fmla="*/ 128930 h 440278"/>
                  <a:gd name="csX20" fmla="*/ 253884 w 253884"/>
                  <a:gd name="csY20" fmla="*/ 276093 h 440278"/>
                  <a:gd name="csX21" fmla="*/ 132868 w 253884"/>
                  <a:gd name="csY21" fmla="*/ 440278 h 440278"/>
                  <a:gd name="csX22" fmla="*/ 96992 w 253884"/>
                  <a:gd name="csY22" fmla="*/ 431162 h 440278"/>
                  <a:gd name="csX23" fmla="*/ 88480 w 253884"/>
                  <a:gd name="csY23" fmla="*/ 195828 h 440278"/>
                  <a:gd name="csX24" fmla="*/ 79965 w 253884"/>
                  <a:gd name="csY24" fmla="*/ 203121 h 440278"/>
                  <a:gd name="csX25" fmla="*/ 79965 w 253884"/>
                  <a:gd name="csY25" fmla="*/ 373994 h 440278"/>
                  <a:gd name="csX26" fmla="*/ 86043 w 253884"/>
                  <a:gd name="csY26" fmla="*/ 378868 h 440278"/>
                  <a:gd name="csX27" fmla="*/ 99142 w 253884"/>
                  <a:gd name="csY27" fmla="*/ 386328 h 440278"/>
                  <a:gd name="csX28" fmla="*/ 115232 w 253884"/>
                  <a:gd name="csY28" fmla="*/ 389202 h 440278"/>
                  <a:gd name="csX29" fmla="*/ 186381 w 253884"/>
                  <a:gd name="csY29" fmla="*/ 280353 h 440278"/>
                  <a:gd name="csX30" fmla="*/ 126790 w 253884"/>
                  <a:gd name="csY30" fmla="*/ 180015 h 440278"/>
                  <a:gd name="csX31" fmla="*/ 102317 w 253884"/>
                  <a:gd name="csY31" fmla="*/ 186460 h 440278"/>
                  <a:gd name="csX32" fmla="*/ 88480 w 253884"/>
                  <a:gd name="csY32" fmla="*/ 195828 h 44027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</a:cxnLst>
                <a:rect l="l" t="t" r="r" b="b"/>
                <a:pathLst>
                  <a:path w="253884" h="440278">
                    <a:moveTo>
                      <a:pt x="96992" y="431162"/>
                    </a:moveTo>
                    <a:cubicBezTo>
                      <a:pt x="93345" y="428725"/>
                      <a:pt x="91799" y="427909"/>
                      <a:pt x="86653" y="423256"/>
                    </a:cubicBezTo>
                    <a:cubicBezTo>
                      <a:pt x="81506" y="418602"/>
                      <a:pt x="80722" y="416978"/>
                      <a:pt x="73277" y="409266"/>
                    </a:cubicBezTo>
                    <a:cubicBezTo>
                      <a:pt x="71454" y="414733"/>
                      <a:pt x="69752" y="419492"/>
                      <a:pt x="68177" y="423391"/>
                    </a:cubicBezTo>
                    <a:cubicBezTo>
                      <a:pt x="66598" y="427300"/>
                      <a:pt x="65148" y="430345"/>
                      <a:pt x="64156" y="432372"/>
                    </a:cubicBezTo>
                    <a:cubicBezTo>
                      <a:pt x="62176" y="436420"/>
                      <a:pt x="60505" y="440278"/>
                      <a:pt x="57464" y="440278"/>
                    </a:cubicBezTo>
                    <a:cubicBezTo>
                      <a:pt x="55031" y="440278"/>
                      <a:pt x="52599" y="439674"/>
                      <a:pt x="50167" y="439069"/>
                    </a:cubicBezTo>
                    <a:lnTo>
                      <a:pt x="5169" y="428121"/>
                    </a:lnTo>
                    <a:cubicBezTo>
                      <a:pt x="129" y="426920"/>
                      <a:pt x="-895" y="425230"/>
                      <a:pt x="682" y="422681"/>
                    </a:cubicBezTo>
                    <a:cubicBezTo>
                      <a:pt x="1101" y="422005"/>
                      <a:pt x="1903" y="420575"/>
                      <a:pt x="3121" y="418138"/>
                    </a:cubicBezTo>
                    <a:cubicBezTo>
                      <a:pt x="4715" y="414752"/>
                      <a:pt x="5959" y="411439"/>
                      <a:pt x="7027" y="408168"/>
                    </a:cubicBezTo>
                    <a:cubicBezTo>
                      <a:pt x="8741" y="402917"/>
                      <a:pt x="9915" y="397776"/>
                      <a:pt x="10706" y="392626"/>
                    </a:cubicBezTo>
                    <a:cubicBezTo>
                      <a:pt x="12431" y="381399"/>
                      <a:pt x="12466" y="370128"/>
                      <a:pt x="12466" y="357576"/>
                    </a:cubicBezTo>
                    <a:cubicBezTo>
                      <a:pt x="12466" y="357576"/>
                      <a:pt x="12466" y="21643"/>
                      <a:pt x="12466" y="17717"/>
                    </a:cubicBezTo>
                    <a:cubicBezTo>
                      <a:pt x="12466" y="13791"/>
                      <a:pt x="13708" y="12924"/>
                      <a:pt x="17726" y="12093"/>
                    </a:cubicBezTo>
                    <a:cubicBezTo>
                      <a:pt x="21744" y="11262"/>
                      <a:pt x="67742" y="1855"/>
                      <a:pt x="75964" y="189"/>
                    </a:cubicBezTo>
                    <a:cubicBezTo>
                      <a:pt x="79122" y="-451"/>
                      <a:pt x="79965" y="412"/>
                      <a:pt x="79965" y="4663"/>
                    </a:cubicBezTo>
                    <a:lnTo>
                      <a:pt x="79965" y="160556"/>
                    </a:lnTo>
                    <a:cubicBezTo>
                      <a:pt x="90304" y="152649"/>
                      <a:pt x="100638" y="144743"/>
                      <a:pt x="112805" y="138659"/>
                    </a:cubicBezTo>
                    <a:cubicBezTo>
                      <a:pt x="123139" y="133795"/>
                      <a:pt x="136519" y="128930"/>
                      <a:pt x="152328" y="128930"/>
                    </a:cubicBezTo>
                    <a:cubicBezTo>
                      <a:pt x="230165" y="128930"/>
                      <a:pt x="253884" y="197037"/>
                      <a:pt x="253884" y="276093"/>
                    </a:cubicBezTo>
                    <a:cubicBezTo>
                      <a:pt x="253884" y="378254"/>
                      <a:pt x="210101" y="440278"/>
                      <a:pt x="132868" y="440278"/>
                    </a:cubicBezTo>
                    <a:cubicBezTo>
                      <a:pt x="116451" y="440278"/>
                      <a:pt x="105503" y="436027"/>
                      <a:pt x="96992" y="431162"/>
                    </a:cubicBezTo>
                    <a:close/>
                    <a:moveTo>
                      <a:pt x="88480" y="195828"/>
                    </a:moveTo>
                    <a:cubicBezTo>
                      <a:pt x="85428" y="198407"/>
                      <a:pt x="83616" y="200079"/>
                      <a:pt x="79965" y="203121"/>
                    </a:cubicBezTo>
                    <a:lnTo>
                      <a:pt x="79965" y="373994"/>
                    </a:lnTo>
                    <a:cubicBezTo>
                      <a:pt x="82739" y="376412"/>
                      <a:pt x="83653" y="377069"/>
                      <a:pt x="86043" y="378868"/>
                    </a:cubicBezTo>
                    <a:cubicBezTo>
                      <a:pt x="89631" y="381567"/>
                      <a:pt x="94496" y="384586"/>
                      <a:pt x="99142" y="386328"/>
                    </a:cubicBezTo>
                    <a:cubicBezTo>
                      <a:pt x="104177" y="388216"/>
                      <a:pt x="109541" y="389202"/>
                      <a:pt x="115232" y="389202"/>
                    </a:cubicBezTo>
                    <a:cubicBezTo>
                      <a:pt x="176047" y="389202"/>
                      <a:pt x="186381" y="327178"/>
                      <a:pt x="186381" y="280353"/>
                    </a:cubicBezTo>
                    <a:cubicBezTo>
                      <a:pt x="186381" y="232923"/>
                      <a:pt x="178475" y="180015"/>
                      <a:pt x="126790" y="180015"/>
                    </a:cubicBezTo>
                    <a:cubicBezTo>
                      <a:pt x="117559" y="180015"/>
                      <a:pt x="109673" y="182480"/>
                      <a:pt x="102317" y="186460"/>
                    </a:cubicBezTo>
                    <a:cubicBezTo>
                      <a:pt x="97557" y="189035"/>
                      <a:pt x="91533" y="193249"/>
                      <a:pt x="88480" y="195828"/>
                    </a:cubicBez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Volný tvar: obrazec 33">
                <a:extLst>
                  <a:ext uri="{FF2B5EF4-FFF2-40B4-BE49-F238E27FC236}">
                    <a16:creationId xmlns:a16="http://schemas.microsoft.com/office/drawing/2014/main" id="{9C83B8B5-A801-77DE-4FA9-388B6A357197}"/>
                  </a:ext>
                </a:extLst>
              </p:cNvPr>
              <p:cNvSpPr/>
              <p:nvPr/>
            </p:nvSpPr>
            <p:spPr>
              <a:xfrm>
                <a:off x="7468327" y="4610772"/>
                <a:ext cx="237777" cy="311348"/>
              </a:xfrm>
              <a:custGeom>
                <a:avLst/>
                <a:gdLst>
                  <a:gd name="csX0" fmla="*/ 186082 w 237777"/>
                  <a:gd name="csY0" fmla="*/ 310744 h 311348"/>
                  <a:gd name="csX1" fmla="*/ 180845 w 237777"/>
                  <a:gd name="csY1" fmla="*/ 308735 h 311348"/>
                  <a:gd name="csX2" fmla="*/ 168446 w 237777"/>
                  <a:gd name="csY2" fmla="*/ 270002 h 311348"/>
                  <a:gd name="csX3" fmla="*/ 150809 w 237777"/>
                  <a:gd name="csY3" fmla="*/ 287024 h 311348"/>
                  <a:gd name="csX4" fmla="*/ 135606 w 237777"/>
                  <a:gd name="csY4" fmla="*/ 298586 h 311348"/>
                  <a:gd name="csX5" fmla="*/ 86353 w 237777"/>
                  <a:gd name="csY5" fmla="*/ 311348 h 311348"/>
                  <a:gd name="csX6" fmla="*/ 0 w 237777"/>
                  <a:gd name="csY6" fmla="*/ 222572 h 311348"/>
                  <a:gd name="csX7" fmla="*/ 158716 w 237777"/>
                  <a:gd name="csY7" fmla="*/ 124662 h 311348"/>
                  <a:gd name="csX8" fmla="*/ 158716 w 237777"/>
                  <a:gd name="csY8" fmla="*/ 100952 h 311348"/>
                  <a:gd name="csX9" fmla="*/ 110677 w 237777"/>
                  <a:gd name="csY9" fmla="*/ 51085 h 311348"/>
                  <a:gd name="csX10" fmla="*/ 85697 w 237777"/>
                  <a:gd name="csY10" fmla="*/ 53833 h 311348"/>
                  <a:gd name="csX11" fmla="*/ 61420 w 237777"/>
                  <a:gd name="csY11" fmla="*/ 60201 h 311348"/>
                  <a:gd name="csX12" fmla="*/ 43783 w 237777"/>
                  <a:gd name="csY12" fmla="*/ 66898 h 311348"/>
                  <a:gd name="csX13" fmla="*/ 38570 w 237777"/>
                  <a:gd name="csY13" fmla="*/ 68477 h 311348"/>
                  <a:gd name="csX14" fmla="*/ 33874 w 237777"/>
                  <a:gd name="csY14" fmla="*/ 66451 h 311348"/>
                  <a:gd name="csX15" fmla="*/ 20984 w 237777"/>
                  <a:gd name="csY15" fmla="*/ 27386 h 311348"/>
                  <a:gd name="csX16" fmla="*/ 20069 w 237777"/>
                  <a:gd name="csY16" fmla="*/ 23719 h 311348"/>
                  <a:gd name="csX17" fmla="*/ 23619 w 237777"/>
                  <a:gd name="csY17" fmla="*/ 19581 h 311348"/>
                  <a:gd name="csX18" fmla="*/ 122230 w 237777"/>
                  <a:gd name="csY18" fmla="*/ 0 h 311348"/>
                  <a:gd name="csX19" fmla="*/ 221959 w 237777"/>
                  <a:gd name="csY19" fmla="*/ 93045 h 311348"/>
                  <a:gd name="csX20" fmla="*/ 221959 w 237777"/>
                  <a:gd name="csY20" fmla="*/ 210406 h 311348"/>
                  <a:gd name="csX21" fmla="*/ 224257 w 237777"/>
                  <a:gd name="csY21" fmla="*/ 244747 h 311348"/>
                  <a:gd name="csX22" fmla="*/ 229865 w 237777"/>
                  <a:gd name="csY22" fmla="*/ 269398 h 311348"/>
                  <a:gd name="csX23" fmla="*/ 236254 w 237777"/>
                  <a:gd name="csY23" fmla="*/ 283927 h 311348"/>
                  <a:gd name="csX24" fmla="*/ 237767 w 237777"/>
                  <a:gd name="csY24" fmla="*/ 288243 h 311348"/>
                  <a:gd name="csX25" fmla="*/ 235339 w 237777"/>
                  <a:gd name="csY25" fmla="*/ 290680 h 311348"/>
                  <a:gd name="csX26" fmla="*/ 186082 w 237777"/>
                  <a:gd name="csY26" fmla="*/ 310744 h 311348"/>
                  <a:gd name="csX27" fmla="*/ 138761 w 237777"/>
                  <a:gd name="csY27" fmla="*/ 164799 h 311348"/>
                  <a:gd name="csX28" fmla="*/ 105255 w 237777"/>
                  <a:gd name="csY28" fmla="*/ 168705 h 311348"/>
                  <a:gd name="csX29" fmla="*/ 76827 w 237777"/>
                  <a:gd name="csY29" fmla="*/ 183590 h 311348"/>
                  <a:gd name="csX30" fmla="*/ 63243 w 237777"/>
                  <a:gd name="csY30" fmla="*/ 218312 h 311348"/>
                  <a:gd name="csX31" fmla="*/ 108245 w 237777"/>
                  <a:gd name="csY31" fmla="*/ 264523 h 311348"/>
                  <a:gd name="csX32" fmla="*/ 158716 w 237777"/>
                  <a:gd name="csY32" fmla="*/ 238376 h 311348"/>
                  <a:gd name="csX33" fmla="*/ 158716 w 237777"/>
                  <a:gd name="csY33" fmla="*/ 164799 h 311348"/>
                  <a:gd name="csX34" fmla="*/ 138761 w 237777"/>
                  <a:gd name="csY34" fmla="*/ 164799 h 31134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37777" h="311348">
                    <a:moveTo>
                      <a:pt x="186082" y="310744"/>
                    </a:moveTo>
                    <a:cubicBezTo>
                      <a:pt x="183400" y="311869"/>
                      <a:pt x="182352" y="310852"/>
                      <a:pt x="180845" y="308735"/>
                    </a:cubicBezTo>
                    <a:cubicBezTo>
                      <a:pt x="176571" y="302729"/>
                      <a:pt x="171771" y="287103"/>
                      <a:pt x="168446" y="270002"/>
                    </a:cubicBezTo>
                    <a:cubicBezTo>
                      <a:pt x="158764" y="279587"/>
                      <a:pt x="155674" y="282773"/>
                      <a:pt x="150809" y="287024"/>
                    </a:cubicBezTo>
                    <a:cubicBezTo>
                      <a:pt x="146554" y="290680"/>
                      <a:pt x="141689" y="294931"/>
                      <a:pt x="135606" y="298586"/>
                    </a:cubicBezTo>
                    <a:cubicBezTo>
                      <a:pt x="124053" y="305274"/>
                      <a:pt x="108245" y="311348"/>
                      <a:pt x="86353" y="311348"/>
                    </a:cubicBezTo>
                    <a:cubicBezTo>
                      <a:pt x="33444" y="311348"/>
                      <a:pt x="0" y="277295"/>
                      <a:pt x="0" y="222572"/>
                    </a:cubicBezTo>
                    <a:cubicBezTo>
                      <a:pt x="0" y="125276"/>
                      <a:pt x="103989" y="124662"/>
                      <a:pt x="158716" y="124662"/>
                    </a:cubicBezTo>
                    <a:lnTo>
                      <a:pt x="158716" y="100952"/>
                    </a:lnTo>
                    <a:cubicBezTo>
                      <a:pt x="158716" y="72368"/>
                      <a:pt x="152637" y="51085"/>
                      <a:pt x="110677" y="51085"/>
                    </a:cubicBezTo>
                    <a:cubicBezTo>
                      <a:pt x="103140" y="51085"/>
                      <a:pt x="94058" y="52180"/>
                      <a:pt x="85697" y="53833"/>
                    </a:cubicBezTo>
                    <a:cubicBezTo>
                      <a:pt x="74493" y="56048"/>
                      <a:pt x="64584" y="59092"/>
                      <a:pt x="61420" y="60201"/>
                    </a:cubicBezTo>
                    <a:cubicBezTo>
                      <a:pt x="55893" y="62137"/>
                      <a:pt x="48442" y="65107"/>
                      <a:pt x="43783" y="66898"/>
                    </a:cubicBezTo>
                    <a:cubicBezTo>
                      <a:pt x="41837" y="67646"/>
                      <a:pt x="39888" y="68212"/>
                      <a:pt x="38570" y="68477"/>
                    </a:cubicBezTo>
                    <a:cubicBezTo>
                      <a:pt x="35835" y="69029"/>
                      <a:pt x="34564" y="68538"/>
                      <a:pt x="33874" y="66451"/>
                    </a:cubicBezTo>
                    <a:cubicBezTo>
                      <a:pt x="29448" y="53060"/>
                      <a:pt x="21306" y="28238"/>
                      <a:pt x="20984" y="27386"/>
                    </a:cubicBezTo>
                    <a:cubicBezTo>
                      <a:pt x="20504" y="26119"/>
                      <a:pt x="20069" y="24810"/>
                      <a:pt x="20069" y="23719"/>
                    </a:cubicBezTo>
                    <a:cubicBezTo>
                      <a:pt x="20069" y="22462"/>
                      <a:pt x="21328" y="21059"/>
                      <a:pt x="23619" y="19581"/>
                    </a:cubicBezTo>
                    <a:cubicBezTo>
                      <a:pt x="36839" y="11048"/>
                      <a:pt x="84393" y="0"/>
                      <a:pt x="122230" y="0"/>
                    </a:cubicBezTo>
                    <a:cubicBezTo>
                      <a:pt x="195811" y="0"/>
                      <a:pt x="221959" y="32231"/>
                      <a:pt x="221959" y="93045"/>
                    </a:cubicBezTo>
                    <a:lnTo>
                      <a:pt x="221959" y="210406"/>
                    </a:lnTo>
                    <a:cubicBezTo>
                      <a:pt x="221959" y="223401"/>
                      <a:pt x="222841" y="235142"/>
                      <a:pt x="224257" y="244747"/>
                    </a:cubicBezTo>
                    <a:cubicBezTo>
                      <a:pt x="226087" y="257169"/>
                      <a:pt x="228665" y="266021"/>
                      <a:pt x="229865" y="269398"/>
                    </a:cubicBezTo>
                    <a:cubicBezTo>
                      <a:pt x="231994" y="275385"/>
                      <a:pt x="233955" y="279419"/>
                      <a:pt x="236254" y="283927"/>
                    </a:cubicBezTo>
                    <a:cubicBezTo>
                      <a:pt x="237079" y="285543"/>
                      <a:pt x="237881" y="287485"/>
                      <a:pt x="237767" y="288243"/>
                    </a:cubicBezTo>
                    <a:cubicBezTo>
                      <a:pt x="237653" y="289000"/>
                      <a:pt x="237059" y="289975"/>
                      <a:pt x="235339" y="290680"/>
                    </a:cubicBezTo>
                    <a:cubicBezTo>
                      <a:pt x="220172" y="296900"/>
                      <a:pt x="193838" y="307490"/>
                      <a:pt x="186082" y="310744"/>
                    </a:cubicBezTo>
                    <a:close/>
                    <a:moveTo>
                      <a:pt x="138761" y="164799"/>
                    </a:moveTo>
                    <a:cubicBezTo>
                      <a:pt x="135555" y="164799"/>
                      <a:pt x="119719" y="164648"/>
                      <a:pt x="105255" y="168705"/>
                    </a:cubicBezTo>
                    <a:cubicBezTo>
                      <a:pt x="91472" y="172571"/>
                      <a:pt x="83410" y="177109"/>
                      <a:pt x="76827" y="183590"/>
                    </a:cubicBezTo>
                    <a:cubicBezTo>
                      <a:pt x="68612" y="191677"/>
                      <a:pt x="63243" y="202793"/>
                      <a:pt x="63243" y="218312"/>
                    </a:cubicBezTo>
                    <a:cubicBezTo>
                      <a:pt x="63243" y="244460"/>
                      <a:pt x="82093" y="264523"/>
                      <a:pt x="108245" y="264523"/>
                    </a:cubicBezTo>
                    <a:cubicBezTo>
                      <a:pt x="132569" y="264523"/>
                      <a:pt x="149596" y="248106"/>
                      <a:pt x="158716" y="238376"/>
                    </a:cubicBezTo>
                    <a:lnTo>
                      <a:pt x="158716" y="164799"/>
                    </a:lnTo>
                    <a:cubicBezTo>
                      <a:pt x="150200" y="164799"/>
                      <a:pt x="144708" y="164799"/>
                      <a:pt x="138761" y="164799"/>
                    </a:cubicBez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" name="Volný tvar: obrazec 34">
                <a:extLst>
                  <a:ext uri="{FF2B5EF4-FFF2-40B4-BE49-F238E27FC236}">
                    <a16:creationId xmlns:a16="http://schemas.microsoft.com/office/drawing/2014/main" id="{93805CAC-DF55-3FF9-44DE-0A39C8F9A8E8}"/>
                  </a:ext>
                </a:extLst>
              </p:cNvPr>
              <p:cNvSpPr/>
              <p:nvPr/>
            </p:nvSpPr>
            <p:spPr>
              <a:xfrm>
                <a:off x="8359080" y="4610772"/>
                <a:ext cx="237777" cy="311348"/>
              </a:xfrm>
              <a:custGeom>
                <a:avLst/>
                <a:gdLst>
                  <a:gd name="csX0" fmla="*/ 186082 w 237777"/>
                  <a:gd name="csY0" fmla="*/ 310744 h 311348"/>
                  <a:gd name="csX1" fmla="*/ 180845 w 237777"/>
                  <a:gd name="csY1" fmla="*/ 308735 h 311348"/>
                  <a:gd name="csX2" fmla="*/ 168446 w 237777"/>
                  <a:gd name="csY2" fmla="*/ 270002 h 311348"/>
                  <a:gd name="csX3" fmla="*/ 150809 w 237777"/>
                  <a:gd name="csY3" fmla="*/ 287024 h 311348"/>
                  <a:gd name="csX4" fmla="*/ 135606 w 237777"/>
                  <a:gd name="csY4" fmla="*/ 298586 h 311348"/>
                  <a:gd name="csX5" fmla="*/ 86353 w 237777"/>
                  <a:gd name="csY5" fmla="*/ 311348 h 311348"/>
                  <a:gd name="csX6" fmla="*/ 0 w 237777"/>
                  <a:gd name="csY6" fmla="*/ 222572 h 311348"/>
                  <a:gd name="csX7" fmla="*/ 158716 w 237777"/>
                  <a:gd name="csY7" fmla="*/ 124662 h 311348"/>
                  <a:gd name="csX8" fmla="*/ 158716 w 237777"/>
                  <a:gd name="csY8" fmla="*/ 100952 h 311348"/>
                  <a:gd name="csX9" fmla="*/ 110677 w 237777"/>
                  <a:gd name="csY9" fmla="*/ 51085 h 311348"/>
                  <a:gd name="csX10" fmla="*/ 85697 w 237777"/>
                  <a:gd name="csY10" fmla="*/ 53833 h 311348"/>
                  <a:gd name="csX11" fmla="*/ 61420 w 237777"/>
                  <a:gd name="csY11" fmla="*/ 60201 h 311348"/>
                  <a:gd name="csX12" fmla="*/ 43783 w 237777"/>
                  <a:gd name="csY12" fmla="*/ 66898 h 311348"/>
                  <a:gd name="csX13" fmla="*/ 38570 w 237777"/>
                  <a:gd name="csY13" fmla="*/ 68477 h 311348"/>
                  <a:gd name="csX14" fmla="*/ 33874 w 237777"/>
                  <a:gd name="csY14" fmla="*/ 66451 h 311348"/>
                  <a:gd name="csX15" fmla="*/ 20984 w 237777"/>
                  <a:gd name="csY15" fmla="*/ 27386 h 311348"/>
                  <a:gd name="csX16" fmla="*/ 20069 w 237777"/>
                  <a:gd name="csY16" fmla="*/ 23719 h 311348"/>
                  <a:gd name="csX17" fmla="*/ 23619 w 237777"/>
                  <a:gd name="csY17" fmla="*/ 19581 h 311348"/>
                  <a:gd name="csX18" fmla="*/ 122230 w 237777"/>
                  <a:gd name="csY18" fmla="*/ 0 h 311348"/>
                  <a:gd name="csX19" fmla="*/ 221959 w 237777"/>
                  <a:gd name="csY19" fmla="*/ 93045 h 311348"/>
                  <a:gd name="csX20" fmla="*/ 221959 w 237777"/>
                  <a:gd name="csY20" fmla="*/ 210406 h 311348"/>
                  <a:gd name="csX21" fmla="*/ 224257 w 237777"/>
                  <a:gd name="csY21" fmla="*/ 244747 h 311348"/>
                  <a:gd name="csX22" fmla="*/ 229865 w 237777"/>
                  <a:gd name="csY22" fmla="*/ 269398 h 311348"/>
                  <a:gd name="csX23" fmla="*/ 236254 w 237777"/>
                  <a:gd name="csY23" fmla="*/ 283927 h 311348"/>
                  <a:gd name="csX24" fmla="*/ 237767 w 237777"/>
                  <a:gd name="csY24" fmla="*/ 288243 h 311348"/>
                  <a:gd name="csX25" fmla="*/ 235339 w 237777"/>
                  <a:gd name="csY25" fmla="*/ 290680 h 311348"/>
                  <a:gd name="csX26" fmla="*/ 186082 w 237777"/>
                  <a:gd name="csY26" fmla="*/ 310744 h 311348"/>
                  <a:gd name="csX27" fmla="*/ 138761 w 237777"/>
                  <a:gd name="csY27" fmla="*/ 164799 h 311348"/>
                  <a:gd name="csX28" fmla="*/ 105255 w 237777"/>
                  <a:gd name="csY28" fmla="*/ 168705 h 311348"/>
                  <a:gd name="csX29" fmla="*/ 76827 w 237777"/>
                  <a:gd name="csY29" fmla="*/ 183590 h 311348"/>
                  <a:gd name="csX30" fmla="*/ 63243 w 237777"/>
                  <a:gd name="csY30" fmla="*/ 218312 h 311348"/>
                  <a:gd name="csX31" fmla="*/ 108245 w 237777"/>
                  <a:gd name="csY31" fmla="*/ 264523 h 311348"/>
                  <a:gd name="csX32" fmla="*/ 158716 w 237777"/>
                  <a:gd name="csY32" fmla="*/ 238376 h 311348"/>
                  <a:gd name="csX33" fmla="*/ 158716 w 237777"/>
                  <a:gd name="csY33" fmla="*/ 164799 h 311348"/>
                  <a:gd name="csX34" fmla="*/ 138761 w 237777"/>
                  <a:gd name="csY34" fmla="*/ 164799 h 311348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  <a:cxn ang="0">
                    <a:pos x="csX22" y="csY22"/>
                  </a:cxn>
                  <a:cxn ang="0">
                    <a:pos x="csX23" y="csY23"/>
                  </a:cxn>
                  <a:cxn ang="0">
                    <a:pos x="csX24" y="csY24"/>
                  </a:cxn>
                  <a:cxn ang="0">
                    <a:pos x="csX25" y="csY25"/>
                  </a:cxn>
                  <a:cxn ang="0">
                    <a:pos x="csX26" y="csY26"/>
                  </a:cxn>
                  <a:cxn ang="0">
                    <a:pos x="csX27" y="csY27"/>
                  </a:cxn>
                  <a:cxn ang="0">
                    <a:pos x="csX28" y="csY28"/>
                  </a:cxn>
                  <a:cxn ang="0">
                    <a:pos x="csX29" y="csY29"/>
                  </a:cxn>
                  <a:cxn ang="0">
                    <a:pos x="csX30" y="csY30"/>
                  </a:cxn>
                  <a:cxn ang="0">
                    <a:pos x="csX31" y="csY31"/>
                  </a:cxn>
                  <a:cxn ang="0">
                    <a:pos x="csX32" y="csY32"/>
                  </a:cxn>
                  <a:cxn ang="0">
                    <a:pos x="csX33" y="csY33"/>
                  </a:cxn>
                  <a:cxn ang="0">
                    <a:pos x="csX34" y="csY34"/>
                  </a:cxn>
                </a:cxnLst>
                <a:rect l="l" t="t" r="r" b="b"/>
                <a:pathLst>
                  <a:path w="237777" h="311348">
                    <a:moveTo>
                      <a:pt x="186082" y="310744"/>
                    </a:moveTo>
                    <a:cubicBezTo>
                      <a:pt x="183400" y="311869"/>
                      <a:pt x="182352" y="310852"/>
                      <a:pt x="180845" y="308735"/>
                    </a:cubicBezTo>
                    <a:cubicBezTo>
                      <a:pt x="176571" y="302729"/>
                      <a:pt x="171770" y="287103"/>
                      <a:pt x="168446" y="270002"/>
                    </a:cubicBezTo>
                    <a:cubicBezTo>
                      <a:pt x="158764" y="279587"/>
                      <a:pt x="155674" y="282773"/>
                      <a:pt x="150809" y="287024"/>
                    </a:cubicBezTo>
                    <a:cubicBezTo>
                      <a:pt x="146554" y="290680"/>
                      <a:pt x="141689" y="294931"/>
                      <a:pt x="135606" y="298586"/>
                    </a:cubicBezTo>
                    <a:cubicBezTo>
                      <a:pt x="124053" y="305274"/>
                      <a:pt x="108245" y="311348"/>
                      <a:pt x="86353" y="311348"/>
                    </a:cubicBezTo>
                    <a:cubicBezTo>
                      <a:pt x="33444" y="311348"/>
                      <a:pt x="0" y="277295"/>
                      <a:pt x="0" y="222572"/>
                    </a:cubicBezTo>
                    <a:cubicBezTo>
                      <a:pt x="0" y="125276"/>
                      <a:pt x="103989" y="124662"/>
                      <a:pt x="158716" y="124662"/>
                    </a:cubicBezTo>
                    <a:lnTo>
                      <a:pt x="158716" y="100952"/>
                    </a:lnTo>
                    <a:cubicBezTo>
                      <a:pt x="158716" y="72368"/>
                      <a:pt x="152637" y="51085"/>
                      <a:pt x="110677" y="51085"/>
                    </a:cubicBezTo>
                    <a:cubicBezTo>
                      <a:pt x="103140" y="51085"/>
                      <a:pt x="94058" y="52180"/>
                      <a:pt x="85697" y="53833"/>
                    </a:cubicBezTo>
                    <a:cubicBezTo>
                      <a:pt x="74494" y="56048"/>
                      <a:pt x="64584" y="59092"/>
                      <a:pt x="61420" y="60201"/>
                    </a:cubicBezTo>
                    <a:cubicBezTo>
                      <a:pt x="55894" y="62137"/>
                      <a:pt x="48442" y="65107"/>
                      <a:pt x="43783" y="66898"/>
                    </a:cubicBezTo>
                    <a:cubicBezTo>
                      <a:pt x="41837" y="67646"/>
                      <a:pt x="39888" y="68212"/>
                      <a:pt x="38570" y="68477"/>
                    </a:cubicBezTo>
                    <a:cubicBezTo>
                      <a:pt x="35835" y="69029"/>
                      <a:pt x="34564" y="68538"/>
                      <a:pt x="33874" y="66451"/>
                    </a:cubicBezTo>
                    <a:cubicBezTo>
                      <a:pt x="29448" y="53060"/>
                      <a:pt x="21306" y="28238"/>
                      <a:pt x="20984" y="27386"/>
                    </a:cubicBezTo>
                    <a:cubicBezTo>
                      <a:pt x="20504" y="26119"/>
                      <a:pt x="20069" y="24810"/>
                      <a:pt x="20069" y="23719"/>
                    </a:cubicBezTo>
                    <a:cubicBezTo>
                      <a:pt x="20069" y="22462"/>
                      <a:pt x="21328" y="21059"/>
                      <a:pt x="23619" y="19581"/>
                    </a:cubicBezTo>
                    <a:cubicBezTo>
                      <a:pt x="36840" y="11048"/>
                      <a:pt x="84393" y="0"/>
                      <a:pt x="122230" y="0"/>
                    </a:cubicBezTo>
                    <a:cubicBezTo>
                      <a:pt x="195811" y="0"/>
                      <a:pt x="221959" y="32231"/>
                      <a:pt x="221959" y="93045"/>
                    </a:cubicBezTo>
                    <a:lnTo>
                      <a:pt x="221959" y="210406"/>
                    </a:lnTo>
                    <a:cubicBezTo>
                      <a:pt x="221959" y="223401"/>
                      <a:pt x="222841" y="235142"/>
                      <a:pt x="224257" y="244747"/>
                    </a:cubicBezTo>
                    <a:cubicBezTo>
                      <a:pt x="226087" y="257169"/>
                      <a:pt x="228665" y="266021"/>
                      <a:pt x="229865" y="269398"/>
                    </a:cubicBezTo>
                    <a:cubicBezTo>
                      <a:pt x="231994" y="275385"/>
                      <a:pt x="233955" y="279419"/>
                      <a:pt x="236254" y="283927"/>
                    </a:cubicBezTo>
                    <a:cubicBezTo>
                      <a:pt x="237079" y="285543"/>
                      <a:pt x="237881" y="287485"/>
                      <a:pt x="237767" y="288243"/>
                    </a:cubicBezTo>
                    <a:cubicBezTo>
                      <a:pt x="237653" y="289000"/>
                      <a:pt x="237058" y="289975"/>
                      <a:pt x="235339" y="290680"/>
                    </a:cubicBezTo>
                    <a:cubicBezTo>
                      <a:pt x="220171" y="296900"/>
                      <a:pt x="193838" y="307490"/>
                      <a:pt x="186082" y="310744"/>
                    </a:cubicBezTo>
                    <a:close/>
                    <a:moveTo>
                      <a:pt x="138761" y="164799"/>
                    </a:moveTo>
                    <a:cubicBezTo>
                      <a:pt x="135555" y="164799"/>
                      <a:pt x="119719" y="164648"/>
                      <a:pt x="105255" y="168705"/>
                    </a:cubicBezTo>
                    <a:cubicBezTo>
                      <a:pt x="91472" y="172571"/>
                      <a:pt x="83410" y="177109"/>
                      <a:pt x="76827" y="183590"/>
                    </a:cubicBezTo>
                    <a:cubicBezTo>
                      <a:pt x="68612" y="191677"/>
                      <a:pt x="63243" y="202793"/>
                      <a:pt x="63243" y="218312"/>
                    </a:cubicBezTo>
                    <a:cubicBezTo>
                      <a:pt x="63243" y="244460"/>
                      <a:pt x="82093" y="264523"/>
                      <a:pt x="108245" y="264523"/>
                    </a:cubicBezTo>
                    <a:cubicBezTo>
                      <a:pt x="132569" y="264523"/>
                      <a:pt x="149596" y="248106"/>
                      <a:pt x="158716" y="238376"/>
                    </a:cubicBezTo>
                    <a:lnTo>
                      <a:pt x="158716" y="164799"/>
                    </a:lnTo>
                    <a:cubicBezTo>
                      <a:pt x="150200" y="164799"/>
                      <a:pt x="144708" y="164799"/>
                      <a:pt x="138761" y="164799"/>
                    </a:cubicBez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" name="Volný tvar: obrazec 35">
                <a:extLst>
                  <a:ext uri="{FF2B5EF4-FFF2-40B4-BE49-F238E27FC236}">
                    <a16:creationId xmlns:a16="http://schemas.microsoft.com/office/drawing/2014/main" id="{BFD549C7-9104-5757-0EED-FDED3FE95CD5}"/>
                  </a:ext>
                </a:extLst>
              </p:cNvPr>
              <p:cNvSpPr/>
              <p:nvPr/>
            </p:nvSpPr>
            <p:spPr>
              <a:xfrm>
                <a:off x="8078796" y="4482491"/>
                <a:ext cx="248643" cy="439631"/>
              </a:xfrm>
              <a:custGeom>
                <a:avLst/>
                <a:gdLst>
                  <a:gd name="csX0" fmla="*/ 197634 w 248643"/>
                  <a:gd name="csY0" fmla="*/ 437806 h 439631"/>
                  <a:gd name="csX1" fmla="*/ 192824 w 248643"/>
                  <a:gd name="csY1" fmla="*/ 439603 h 439631"/>
                  <a:gd name="csX2" fmla="*/ 187905 w 248643"/>
                  <a:gd name="csY2" fmla="*/ 434765 h 439631"/>
                  <a:gd name="csX3" fmla="*/ 73577 w 248643"/>
                  <a:gd name="csY3" fmla="*/ 287611 h 439631"/>
                  <a:gd name="csX4" fmla="*/ 67498 w 248643"/>
                  <a:gd name="csY4" fmla="*/ 279091 h 439631"/>
                  <a:gd name="csX5" fmla="*/ 67498 w 248643"/>
                  <a:gd name="csY5" fmla="*/ 425649 h 439631"/>
                  <a:gd name="csX6" fmla="*/ 63847 w 248643"/>
                  <a:gd name="csY6" fmla="*/ 429295 h 439631"/>
                  <a:gd name="csX7" fmla="*/ 3646 w 248643"/>
                  <a:gd name="csY7" fmla="*/ 429295 h 439631"/>
                  <a:gd name="csX8" fmla="*/ 0 w 248643"/>
                  <a:gd name="csY8" fmla="*/ 425649 h 439631"/>
                  <a:gd name="csX9" fmla="*/ 0 w 248643"/>
                  <a:gd name="csY9" fmla="*/ 17625 h 439631"/>
                  <a:gd name="csX10" fmla="*/ 7906 w 248643"/>
                  <a:gd name="csY10" fmla="*/ 10894 h 439631"/>
                  <a:gd name="csX11" fmla="*/ 58982 w 248643"/>
                  <a:gd name="csY11" fmla="*/ 587 h 439631"/>
                  <a:gd name="csX12" fmla="*/ 67498 w 248643"/>
                  <a:gd name="csY12" fmla="*/ 6661 h 439631"/>
                  <a:gd name="csX13" fmla="*/ 67498 w 248643"/>
                  <a:gd name="csY13" fmla="*/ 259027 h 439631"/>
                  <a:gd name="csX14" fmla="*/ 193905 w 248643"/>
                  <a:gd name="csY14" fmla="*/ 131269 h 439631"/>
                  <a:gd name="csX15" fmla="*/ 201638 w 248643"/>
                  <a:gd name="csY15" fmla="*/ 130772 h 439631"/>
                  <a:gd name="csX16" fmla="*/ 234357 w 248643"/>
                  <a:gd name="csY16" fmla="*/ 157797 h 439631"/>
                  <a:gd name="csX17" fmla="*/ 234474 w 248643"/>
                  <a:gd name="csY17" fmla="*/ 164485 h 439631"/>
                  <a:gd name="csX18" fmla="*/ 131350 w 248643"/>
                  <a:gd name="csY18" fmla="*/ 265110 h 439631"/>
                  <a:gd name="csX19" fmla="*/ 245733 w 248643"/>
                  <a:gd name="csY19" fmla="*/ 402696 h 439631"/>
                  <a:gd name="csX20" fmla="*/ 246689 w 248643"/>
                  <a:gd name="csY20" fmla="*/ 410431 h 439631"/>
                  <a:gd name="csX21" fmla="*/ 197634 w 248643"/>
                  <a:gd name="csY21" fmla="*/ 437806 h 439631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  <a:cxn ang="0">
                    <a:pos x="csX9" y="csY9"/>
                  </a:cxn>
                  <a:cxn ang="0">
                    <a:pos x="csX10" y="csY10"/>
                  </a:cxn>
                  <a:cxn ang="0">
                    <a:pos x="csX11" y="csY11"/>
                  </a:cxn>
                  <a:cxn ang="0">
                    <a:pos x="csX12" y="csY12"/>
                  </a:cxn>
                  <a:cxn ang="0">
                    <a:pos x="csX13" y="csY13"/>
                  </a:cxn>
                  <a:cxn ang="0">
                    <a:pos x="csX14" y="csY14"/>
                  </a:cxn>
                  <a:cxn ang="0">
                    <a:pos x="csX15" y="csY15"/>
                  </a:cxn>
                  <a:cxn ang="0">
                    <a:pos x="csX16" y="csY16"/>
                  </a:cxn>
                  <a:cxn ang="0">
                    <a:pos x="csX17" y="csY17"/>
                  </a:cxn>
                  <a:cxn ang="0">
                    <a:pos x="csX18" y="csY18"/>
                  </a:cxn>
                  <a:cxn ang="0">
                    <a:pos x="csX19" y="csY19"/>
                  </a:cxn>
                  <a:cxn ang="0">
                    <a:pos x="csX20" y="csY20"/>
                  </a:cxn>
                  <a:cxn ang="0">
                    <a:pos x="csX21" y="csY21"/>
                  </a:cxn>
                </a:cxnLst>
                <a:rect l="l" t="t" r="r" b="b"/>
                <a:pathLst>
                  <a:path w="248643" h="439631">
                    <a:moveTo>
                      <a:pt x="197634" y="437806"/>
                    </a:moveTo>
                    <a:cubicBezTo>
                      <a:pt x="195617" y="438933"/>
                      <a:pt x="194133" y="439802"/>
                      <a:pt x="192824" y="439603"/>
                    </a:cubicBezTo>
                    <a:cubicBezTo>
                      <a:pt x="191312" y="439372"/>
                      <a:pt x="190310" y="437734"/>
                      <a:pt x="187905" y="434765"/>
                    </a:cubicBezTo>
                    <a:cubicBezTo>
                      <a:pt x="182901" y="428588"/>
                      <a:pt x="77872" y="293079"/>
                      <a:pt x="73577" y="287611"/>
                    </a:cubicBezTo>
                    <a:cubicBezTo>
                      <a:pt x="70562" y="283772"/>
                      <a:pt x="67498" y="279091"/>
                      <a:pt x="67498" y="279091"/>
                    </a:cubicBezTo>
                    <a:cubicBezTo>
                      <a:pt x="67498" y="279091"/>
                      <a:pt x="67498" y="422529"/>
                      <a:pt x="67498" y="425649"/>
                    </a:cubicBezTo>
                    <a:cubicBezTo>
                      <a:pt x="67498" y="428769"/>
                      <a:pt x="66889" y="429295"/>
                      <a:pt x="63847" y="429295"/>
                    </a:cubicBezTo>
                    <a:lnTo>
                      <a:pt x="3646" y="429295"/>
                    </a:lnTo>
                    <a:cubicBezTo>
                      <a:pt x="605" y="429295"/>
                      <a:pt x="0" y="428691"/>
                      <a:pt x="0" y="425649"/>
                    </a:cubicBezTo>
                    <a:lnTo>
                      <a:pt x="0" y="17625"/>
                    </a:lnTo>
                    <a:cubicBezTo>
                      <a:pt x="0" y="12552"/>
                      <a:pt x="41" y="12460"/>
                      <a:pt x="7906" y="10894"/>
                    </a:cubicBezTo>
                    <a:cubicBezTo>
                      <a:pt x="15225" y="9437"/>
                      <a:pt x="38648" y="4724"/>
                      <a:pt x="58982" y="587"/>
                    </a:cubicBezTo>
                    <a:cubicBezTo>
                      <a:pt x="66167" y="-875"/>
                      <a:pt x="67498" y="129"/>
                      <a:pt x="67498" y="6661"/>
                    </a:cubicBezTo>
                    <a:cubicBezTo>
                      <a:pt x="67498" y="16191"/>
                      <a:pt x="67498" y="259027"/>
                      <a:pt x="67498" y="259027"/>
                    </a:cubicBezTo>
                    <a:cubicBezTo>
                      <a:pt x="67498" y="259027"/>
                      <a:pt x="185760" y="139505"/>
                      <a:pt x="193905" y="131269"/>
                    </a:cubicBezTo>
                    <a:cubicBezTo>
                      <a:pt x="197262" y="127874"/>
                      <a:pt x="198102" y="127926"/>
                      <a:pt x="201638" y="130772"/>
                    </a:cubicBezTo>
                    <a:cubicBezTo>
                      <a:pt x="210830" y="138168"/>
                      <a:pt x="224256" y="149288"/>
                      <a:pt x="234357" y="157797"/>
                    </a:cubicBezTo>
                    <a:cubicBezTo>
                      <a:pt x="236390" y="159510"/>
                      <a:pt x="236925" y="162092"/>
                      <a:pt x="234474" y="164485"/>
                    </a:cubicBezTo>
                    <a:cubicBezTo>
                      <a:pt x="223983" y="174725"/>
                      <a:pt x="131350" y="265110"/>
                      <a:pt x="131350" y="265110"/>
                    </a:cubicBezTo>
                    <a:cubicBezTo>
                      <a:pt x="131350" y="265110"/>
                      <a:pt x="232146" y="386467"/>
                      <a:pt x="245733" y="402696"/>
                    </a:cubicBezTo>
                    <a:cubicBezTo>
                      <a:pt x="249009" y="406609"/>
                      <a:pt x="249783" y="408702"/>
                      <a:pt x="246689" y="410431"/>
                    </a:cubicBezTo>
                    <a:cubicBezTo>
                      <a:pt x="236391" y="416186"/>
                      <a:pt x="213335" y="429042"/>
                      <a:pt x="197634" y="437806"/>
                    </a:cubicBezTo>
                    <a:close/>
                  </a:path>
                </a:pathLst>
              </a:custGeom>
              <a:solidFill>
                <a:srgbClr val="003366"/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A4CD9D17-4203-1FCF-D8C8-612703C5DA5C}"/>
              </a:ext>
            </a:extLst>
          </p:cNvPr>
          <p:cNvGrpSpPr/>
          <p:nvPr/>
        </p:nvGrpSpPr>
        <p:grpSpPr>
          <a:xfrm>
            <a:off x="7807832" y="3319871"/>
            <a:ext cx="1722099" cy="871083"/>
            <a:chOff x="1776962" y="1064764"/>
            <a:chExt cx="10235564" cy="3991486"/>
          </a:xfrm>
        </p:grpSpPr>
        <p:sp>
          <p:nvSpPr>
            <p:cNvPr id="41" name="Volný tvar: obrazec 40">
              <a:extLst>
                <a:ext uri="{FF2B5EF4-FFF2-40B4-BE49-F238E27FC236}">
                  <a16:creationId xmlns:a16="http://schemas.microsoft.com/office/drawing/2014/main" id="{D79F1B84-CA3C-2A44-5D1F-135BEFC92F2F}"/>
                </a:ext>
              </a:extLst>
            </p:cNvPr>
            <p:cNvSpPr/>
            <p:nvPr/>
          </p:nvSpPr>
          <p:spPr>
            <a:xfrm>
              <a:off x="3407070" y="1064764"/>
              <a:ext cx="1635632" cy="1634775"/>
            </a:xfrm>
            <a:custGeom>
              <a:avLst/>
              <a:gdLst>
                <a:gd name="csX0" fmla="*/ 817626 w 1635632"/>
                <a:gd name="csY0" fmla="*/ 1634776 h 1634775"/>
                <a:gd name="csX1" fmla="*/ 1635633 w 1635632"/>
                <a:gd name="csY1" fmla="*/ 817531 h 1634775"/>
                <a:gd name="csX2" fmla="*/ 817626 w 1635632"/>
                <a:gd name="csY2" fmla="*/ 0 h 1634775"/>
                <a:gd name="csX3" fmla="*/ 0 w 1635632"/>
                <a:gd name="csY3" fmla="*/ 817531 h 1634775"/>
                <a:gd name="csX4" fmla="*/ 817626 w 1635632"/>
                <a:gd name="csY4" fmla="*/ 1634776 h 163477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1635632" h="1634775">
                  <a:moveTo>
                    <a:pt x="817626" y="1634776"/>
                  </a:moveTo>
                  <a:cubicBezTo>
                    <a:pt x="1269492" y="1634776"/>
                    <a:pt x="1635633" y="1268730"/>
                    <a:pt x="1635633" y="817531"/>
                  </a:cubicBezTo>
                  <a:cubicBezTo>
                    <a:pt x="1635633" y="366332"/>
                    <a:pt x="1269587" y="0"/>
                    <a:pt x="817626" y="0"/>
                  </a:cubicBezTo>
                  <a:cubicBezTo>
                    <a:pt x="365665" y="0"/>
                    <a:pt x="0" y="366236"/>
                    <a:pt x="0" y="817531"/>
                  </a:cubicBezTo>
                  <a:cubicBezTo>
                    <a:pt x="0" y="1268825"/>
                    <a:pt x="366236" y="1634776"/>
                    <a:pt x="817626" y="1634776"/>
                  </a:cubicBezTo>
                </a:path>
              </a:pathLst>
            </a:custGeom>
            <a:solidFill>
              <a:srgbClr val="00A3DA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Volný tvar: obrazec 41">
              <a:extLst>
                <a:ext uri="{FF2B5EF4-FFF2-40B4-BE49-F238E27FC236}">
                  <a16:creationId xmlns:a16="http://schemas.microsoft.com/office/drawing/2014/main" id="{791EA70A-87E6-05B1-CD41-C6899F9F3896}"/>
                </a:ext>
              </a:extLst>
            </p:cNvPr>
            <p:cNvSpPr/>
            <p:nvPr/>
          </p:nvSpPr>
          <p:spPr>
            <a:xfrm>
              <a:off x="1829444" y="2498724"/>
              <a:ext cx="4731924" cy="745835"/>
            </a:xfrm>
            <a:custGeom>
              <a:avLst/>
              <a:gdLst>
                <a:gd name="csX0" fmla="*/ 2998660 w 4731924"/>
                <a:gd name="csY0" fmla="*/ 45081 h 745835"/>
                <a:gd name="csX1" fmla="*/ 2215610 w 4731924"/>
                <a:gd name="csY1" fmla="*/ 382647 h 745835"/>
                <a:gd name="csX2" fmla="*/ 1556861 w 4731924"/>
                <a:gd name="csY2" fmla="*/ 158333 h 745835"/>
                <a:gd name="csX3" fmla="*/ 0 w 4731924"/>
                <a:gd name="csY3" fmla="*/ 384743 h 745835"/>
                <a:gd name="csX4" fmla="*/ 0 w 4731924"/>
                <a:gd name="csY4" fmla="*/ 745835 h 745835"/>
                <a:gd name="csX5" fmla="*/ 4731734 w 4731924"/>
                <a:gd name="csY5" fmla="*/ 745264 h 745835"/>
                <a:gd name="csX6" fmla="*/ 4731925 w 4731924"/>
                <a:gd name="csY6" fmla="*/ 123 h 745835"/>
                <a:gd name="csX7" fmla="*/ 2998565 w 4731924"/>
                <a:gd name="csY7" fmla="*/ 45081 h 7458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4731924" h="745835">
                  <a:moveTo>
                    <a:pt x="2998660" y="45081"/>
                  </a:moveTo>
                  <a:cubicBezTo>
                    <a:pt x="2843022" y="213864"/>
                    <a:pt x="2567940" y="382647"/>
                    <a:pt x="2215610" y="382647"/>
                  </a:cubicBezTo>
                  <a:cubicBezTo>
                    <a:pt x="1942052" y="382647"/>
                    <a:pt x="1706404" y="276253"/>
                    <a:pt x="1556861" y="158333"/>
                  </a:cubicBezTo>
                  <a:cubicBezTo>
                    <a:pt x="663797" y="252059"/>
                    <a:pt x="0" y="384743"/>
                    <a:pt x="0" y="384743"/>
                  </a:cubicBezTo>
                  <a:lnTo>
                    <a:pt x="0" y="745835"/>
                  </a:lnTo>
                  <a:lnTo>
                    <a:pt x="4731734" y="745264"/>
                  </a:lnTo>
                  <a:lnTo>
                    <a:pt x="4731925" y="123"/>
                  </a:lnTo>
                  <a:cubicBezTo>
                    <a:pt x="4731925" y="123"/>
                    <a:pt x="3924681" y="-4639"/>
                    <a:pt x="2998565" y="45081"/>
                  </a:cubicBezTo>
                </a:path>
              </a:pathLst>
            </a:custGeom>
            <a:solidFill>
              <a:srgbClr val="00A3DA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Volný tvar: obrazec 42">
              <a:extLst>
                <a:ext uri="{FF2B5EF4-FFF2-40B4-BE49-F238E27FC236}">
                  <a16:creationId xmlns:a16="http://schemas.microsoft.com/office/drawing/2014/main" id="{F854A520-98C2-AC41-CB43-D431ADA9C370}"/>
                </a:ext>
              </a:extLst>
            </p:cNvPr>
            <p:cNvSpPr/>
            <p:nvPr/>
          </p:nvSpPr>
          <p:spPr>
            <a:xfrm>
              <a:off x="1776962" y="2991290"/>
              <a:ext cx="10235564" cy="2064960"/>
            </a:xfrm>
            <a:custGeom>
              <a:avLst/>
              <a:gdLst>
                <a:gd name="csX0" fmla="*/ 3673793 w 10235564"/>
                <a:gd name="csY0" fmla="*/ 597217 h 2064960"/>
                <a:gd name="csX1" fmla="*/ 3657981 w 10235564"/>
                <a:gd name="csY1" fmla="*/ 597217 h 2064960"/>
                <a:gd name="csX2" fmla="*/ 3657981 w 10235564"/>
                <a:gd name="csY2" fmla="*/ 1841468 h 2064960"/>
                <a:gd name="csX3" fmla="*/ 4356640 w 10235564"/>
                <a:gd name="csY3" fmla="*/ 1841468 h 2064960"/>
                <a:gd name="csX4" fmla="*/ 4856036 w 10235564"/>
                <a:gd name="csY4" fmla="*/ 1488376 h 2064960"/>
                <a:gd name="csX5" fmla="*/ 4628960 w 10235564"/>
                <a:gd name="csY5" fmla="*/ 1208532 h 2064960"/>
                <a:gd name="csX6" fmla="*/ 4834128 w 10235564"/>
                <a:gd name="csY6" fmla="*/ 911924 h 2064960"/>
                <a:gd name="csX7" fmla="*/ 4413790 w 10235564"/>
                <a:gd name="csY7" fmla="*/ 597217 h 2064960"/>
                <a:gd name="csX8" fmla="*/ 3673793 w 10235564"/>
                <a:gd name="csY8" fmla="*/ 597217 h 2064960"/>
                <a:gd name="csX9" fmla="*/ 4220147 w 10235564"/>
                <a:gd name="csY9" fmla="*/ 1342644 h 2064960"/>
                <a:gd name="csX10" fmla="*/ 4372642 w 10235564"/>
                <a:gd name="csY10" fmla="*/ 1450276 h 2064960"/>
                <a:gd name="csX11" fmla="*/ 4216432 w 10235564"/>
                <a:gd name="csY11" fmla="*/ 1559433 h 2064960"/>
                <a:gd name="csX12" fmla="*/ 4114800 w 10235564"/>
                <a:gd name="csY12" fmla="*/ 1559433 h 2064960"/>
                <a:gd name="csX13" fmla="*/ 4114800 w 10235564"/>
                <a:gd name="csY13" fmla="*/ 1342739 h 2064960"/>
                <a:gd name="csX14" fmla="*/ 4220147 w 10235564"/>
                <a:gd name="csY14" fmla="*/ 1342739 h 2064960"/>
                <a:gd name="csX15" fmla="*/ 4221766 w 10235564"/>
                <a:gd name="csY15" fmla="*/ 858583 h 2064960"/>
                <a:gd name="csX16" fmla="*/ 4360736 w 10235564"/>
                <a:gd name="csY16" fmla="*/ 960501 h 2064960"/>
                <a:gd name="csX17" fmla="*/ 4211289 w 10235564"/>
                <a:gd name="csY17" fmla="*/ 1060990 h 2064960"/>
                <a:gd name="csX18" fmla="*/ 4114800 w 10235564"/>
                <a:gd name="csY18" fmla="*/ 1060990 h 2064960"/>
                <a:gd name="csX19" fmla="*/ 4114800 w 10235564"/>
                <a:gd name="csY19" fmla="*/ 858583 h 2064960"/>
                <a:gd name="csX20" fmla="*/ 4221766 w 10235564"/>
                <a:gd name="csY20" fmla="*/ 858583 h 2064960"/>
                <a:gd name="csX21" fmla="*/ 2237327 w 10235564"/>
                <a:gd name="csY21" fmla="*/ 1219105 h 2064960"/>
                <a:gd name="csX22" fmla="*/ 2905601 w 10235564"/>
                <a:gd name="csY22" fmla="*/ 1861947 h 2064960"/>
                <a:gd name="csX23" fmla="*/ 3578733 w 10235564"/>
                <a:gd name="csY23" fmla="*/ 1219105 h 2064960"/>
                <a:gd name="csX24" fmla="*/ 2905601 w 10235564"/>
                <a:gd name="csY24" fmla="*/ 576548 h 2064960"/>
                <a:gd name="csX25" fmla="*/ 2237327 w 10235564"/>
                <a:gd name="csY25" fmla="*/ 1219105 h 2064960"/>
                <a:gd name="csX26" fmla="*/ 2740914 w 10235564"/>
                <a:gd name="csY26" fmla="*/ 1219105 h 2064960"/>
                <a:gd name="csX27" fmla="*/ 2905601 w 10235564"/>
                <a:gd name="csY27" fmla="*/ 900113 h 2064960"/>
                <a:gd name="csX28" fmla="*/ 3074670 w 10235564"/>
                <a:gd name="csY28" fmla="*/ 1219391 h 2064960"/>
                <a:gd name="csX29" fmla="*/ 2905601 w 10235564"/>
                <a:gd name="csY29" fmla="*/ 1538288 h 2064960"/>
                <a:gd name="csX30" fmla="*/ 2740914 w 10235564"/>
                <a:gd name="csY30" fmla="*/ 1219009 h 2064960"/>
                <a:gd name="csX31" fmla="*/ 1098423 w 10235564"/>
                <a:gd name="csY31" fmla="*/ 984790 h 2064960"/>
                <a:gd name="csX32" fmla="*/ 1537716 w 10235564"/>
                <a:gd name="csY32" fmla="*/ 1386173 h 2064960"/>
                <a:gd name="csX33" fmla="*/ 1716691 w 10235564"/>
                <a:gd name="csY33" fmla="*/ 1471136 h 2064960"/>
                <a:gd name="csX34" fmla="*/ 1530572 w 10235564"/>
                <a:gd name="csY34" fmla="*/ 1538383 h 2064960"/>
                <a:gd name="csX35" fmla="*/ 1132618 w 10235564"/>
                <a:gd name="csY35" fmla="*/ 1459801 h 2064960"/>
                <a:gd name="csX36" fmla="*/ 1110044 w 10235564"/>
                <a:gd name="csY36" fmla="*/ 1450276 h 2064960"/>
                <a:gd name="csX37" fmla="*/ 1110044 w 10235564"/>
                <a:gd name="csY37" fmla="*/ 1801463 h 2064960"/>
                <a:gd name="csX38" fmla="*/ 1122807 w 10235564"/>
                <a:gd name="csY38" fmla="*/ 1804607 h 2064960"/>
                <a:gd name="csX39" fmla="*/ 1611439 w 10235564"/>
                <a:gd name="csY39" fmla="*/ 1862042 h 2064960"/>
                <a:gd name="csX40" fmla="*/ 2200370 w 10235564"/>
                <a:gd name="csY40" fmla="*/ 1439990 h 2064960"/>
                <a:gd name="csX41" fmla="*/ 1758601 w 10235564"/>
                <a:gd name="csY41" fmla="*/ 1043845 h 2064960"/>
                <a:gd name="csX42" fmla="*/ 1582007 w 10235564"/>
                <a:gd name="csY42" fmla="*/ 964121 h 2064960"/>
                <a:gd name="csX43" fmla="*/ 1759744 w 10235564"/>
                <a:gd name="csY43" fmla="*/ 900208 h 2064960"/>
                <a:gd name="csX44" fmla="*/ 2103215 w 10235564"/>
                <a:gd name="csY44" fmla="*/ 960025 h 2064960"/>
                <a:gd name="csX45" fmla="*/ 2124647 w 10235564"/>
                <a:gd name="csY45" fmla="*/ 968121 h 2064960"/>
                <a:gd name="csX46" fmla="*/ 2124647 w 10235564"/>
                <a:gd name="csY46" fmla="*/ 620840 h 2064960"/>
                <a:gd name="csX47" fmla="*/ 2111883 w 10235564"/>
                <a:gd name="csY47" fmla="*/ 618649 h 2064960"/>
                <a:gd name="csX48" fmla="*/ 1719358 w 10235564"/>
                <a:gd name="csY48" fmla="*/ 576548 h 2064960"/>
                <a:gd name="csX49" fmla="*/ 1098423 w 10235564"/>
                <a:gd name="csY49" fmla="*/ 984790 h 2064960"/>
                <a:gd name="csX50" fmla="*/ 368713 w 10235564"/>
                <a:gd name="csY50" fmla="*/ 375761 h 2064960"/>
                <a:gd name="csX51" fmla="*/ 227838 w 10235564"/>
                <a:gd name="csY51" fmla="*/ 504635 h 2064960"/>
                <a:gd name="csX52" fmla="*/ 238125 w 10235564"/>
                <a:gd name="csY52" fmla="*/ 513493 h 2064960"/>
                <a:gd name="csX53" fmla="*/ 449294 w 10235564"/>
                <a:gd name="csY53" fmla="*/ 617791 h 2064960"/>
                <a:gd name="csX54" fmla="*/ 0 w 10235564"/>
                <a:gd name="csY54" fmla="*/ 1201865 h 2064960"/>
                <a:gd name="csX55" fmla="*/ 716756 w 10235564"/>
                <a:gd name="csY55" fmla="*/ 1858518 h 2064960"/>
                <a:gd name="csX56" fmla="*/ 1043559 w 10235564"/>
                <a:gd name="csY56" fmla="*/ 1809369 h 2064960"/>
                <a:gd name="csX57" fmla="*/ 1052227 w 10235564"/>
                <a:gd name="csY57" fmla="*/ 1806702 h 2064960"/>
                <a:gd name="csX58" fmla="*/ 1052227 w 10235564"/>
                <a:gd name="csY58" fmla="*/ 1458849 h 2064960"/>
                <a:gd name="csX59" fmla="*/ 1036034 w 10235564"/>
                <a:gd name="csY59" fmla="*/ 1464755 h 2064960"/>
                <a:gd name="csX60" fmla="*/ 795909 w 10235564"/>
                <a:gd name="csY60" fmla="*/ 1511046 h 2064960"/>
                <a:gd name="csX61" fmla="*/ 485870 w 10235564"/>
                <a:gd name="csY61" fmla="*/ 1208818 h 2064960"/>
                <a:gd name="csX62" fmla="*/ 810768 w 10235564"/>
                <a:gd name="csY62" fmla="*/ 917353 h 2064960"/>
                <a:gd name="csX63" fmla="*/ 1033177 w 10235564"/>
                <a:gd name="csY63" fmla="*/ 961834 h 2064960"/>
                <a:gd name="csX64" fmla="*/ 1049179 w 10235564"/>
                <a:gd name="csY64" fmla="*/ 966978 h 2064960"/>
                <a:gd name="csX65" fmla="*/ 1049179 w 10235564"/>
                <a:gd name="csY65" fmla="*/ 620649 h 2064960"/>
                <a:gd name="csX66" fmla="*/ 1014984 w 10235564"/>
                <a:gd name="csY66" fmla="*/ 614077 h 2064960"/>
                <a:gd name="csX67" fmla="*/ 849059 w 10235564"/>
                <a:gd name="csY67" fmla="*/ 587502 h 2064960"/>
                <a:gd name="csX68" fmla="*/ 1043464 w 10235564"/>
                <a:gd name="csY68" fmla="*/ 450342 h 2064960"/>
                <a:gd name="csX69" fmla="*/ 1052798 w 10235564"/>
                <a:gd name="csY69" fmla="*/ 440627 h 2064960"/>
                <a:gd name="csX70" fmla="*/ 998601 w 10235564"/>
                <a:gd name="csY70" fmla="*/ 399860 h 2064960"/>
                <a:gd name="csX71" fmla="*/ 991172 w 10235564"/>
                <a:gd name="csY71" fmla="*/ 407956 h 2064960"/>
                <a:gd name="csX72" fmla="*/ 702183 w 10235564"/>
                <a:gd name="csY72" fmla="*/ 515493 h 2064960"/>
                <a:gd name="csX73" fmla="*/ 386334 w 10235564"/>
                <a:gd name="csY73" fmla="*/ 376523 h 2064960"/>
                <a:gd name="csX74" fmla="*/ 377952 w 10235564"/>
                <a:gd name="csY74" fmla="*/ 366522 h 2064960"/>
                <a:gd name="csX75" fmla="*/ 5939409 w 10235564"/>
                <a:gd name="csY75" fmla="*/ 766096 h 2064960"/>
                <a:gd name="csX76" fmla="*/ 5874258 w 10235564"/>
                <a:gd name="csY76" fmla="*/ 750094 h 2064960"/>
                <a:gd name="csX77" fmla="*/ 5828824 w 10235564"/>
                <a:gd name="csY77" fmla="*/ 733044 h 2064960"/>
                <a:gd name="csX78" fmla="*/ 5809107 w 10235564"/>
                <a:gd name="csY78" fmla="*/ 722852 h 2064960"/>
                <a:gd name="csX79" fmla="*/ 5805297 w 10235564"/>
                <a:gd name="csY79" fmla="*/ 718090 h 2064960"/>
                <a:gd name="csX80" fmla="*/ 5810060 w 10235564"/>
                <a:gd name="csY80" fmla="*/ 703707 h 2064960"/>
                <a:gd name="csX81" fmla="*/ 5834634 w 10235564"/>
                <a:gd name="csY81" fmla="*/ 633222 h 2064960"/>
                <a:gd name="csX82" fmla="*/ 5838921 w 10235564"/>
                <a:gd name="csY82" fmla="*/ 629983 h 2064960"/>
                <a:gd name="csX83" fmla="*/ 5845302 w 10235564"/>
                <a:gd name="csY83" fmla="*/ 632079 h 2064960"/>
                <a:gd name="csX84" fmla="*/ 5852827 w 10235564"/>
                <a:gd name="csY84" fmla="*/ 635317 h 2064960"/>
                <a:gd name="csX85" fmla="*/ 5891308 w 10235564"/>
                <a:gd name="csY85" fmla="*/ 651320 h 2064960"/>
                <a:gd name="csX86" fmla="*/ 5947887 w 10235564"/>
                <a:gd name="csY86" fmla="*/ 667322 h 2064960"/>
                <a:gd name="csX87" fmla="*/ 6015228 w 10235564"/>
                <a:gd name="csY87" fmla="*/ 674751 h 2064960"/>
                <a:gd name="csX88" fmla="*/ 6091619 w 10235564"/>
                <a:gd name="csY88" fmla="*/ 648557 h 2064960"/>
                <a:gd name="csX89" fmla="*/ 6119908 w 10235564"/>
                <a:gd name="csY89" fmla="*/ 567976 h 2064960"/>
                <a:gd name="csX90" fmla="*/ 6099048 w 10235564"/>
                <a:gd name="csY90" fmla="*/ 505492 h 2064960"/>
                <a:gd name="csX91" fmla="*/ 6047232 w 10235564"/>
                <a:gd name="csY91" fmla="*/ 464344 h 2064960"/>
                <a:gd name="csX92" fmla="*/ 5977224 w 10235564"/>
                <a:gd name="csY92" fmla="*/ 430720 h 2064960"/>
                <a:gd name="csX93" fmla="*/ 5897690 w 10235564"/>
                <a:gd name="csY93" fmla="*/ 389573 h 2064960"/>
                <a:gd name="csX94" fmla="*/ 5833015 w 10235564"/>
                <a:gd name="csY94" fmla="*/ 330327 h 2064960"/>
                <a:gd name="csX95" fmla="*/ 5809012 w 10235564"/>
                <a:gd name="csY95" fmla="*/ 231553 h 2064960"/>
                <a:gd name="csX96" fmla="*/ 5827205 w 10235564"/>
                <a:gd name="csY96" fmla="*/ 136493 h 2064960"/>
                <a:gd name="csX97" fmla="*/ 5876925 w 10235564"/>
                <a:gd name="csY97" fmla="*/ 71342 h 2064960"/>
                <a:gd name="csX98" fmla="*/ 5949506 w 10235564"/>
                <a:gd name="csY98" fmla="*/ 34004 h 2064960"/>
                <a:gd name="csX99" fmla="*/ 6035517 w 10235564"/>
                <a:gd name="csY99" fmla="*/ 22289 h 2064960"/>
                <a:gd name="csX100" fmla="*/ 6110859 w 10235564"/>
                <a:gd name="csY100" fmla="*/ 29813 h 2064960"/>
                <a:gd name="csX101" fmla="*/ 6173915 w 10235564"/>
                <a:gd name="csY101" fmla="*/ 47435 h 2064960"/>
                <a:gd name="csX102" fmla="*/ 6217158 w 10235564"/>
                <a:gd name="csY102" fmla="*/ 66675 h 2064960"/>
                <a:gd name="csX103" fmla="*/ 6233160 w 10235564"/>
                <a:gd name="csY103" fmla="*/ 78962 h 2064960"/>
                <a:gd name="csX104" fmla="*/ 6232589 w 10235564"/>
                <a:gd name="csY104" fmla="*/ 82677 h 2064960"/>
                <a:gd name="csX105" fmla="*/ 6228874 w 10235564"/>
                <a:gd name="csY105" fmla="*/ 90678 h 2064960"/>
                <a:gd name="csX106" fmla="*/ 6193631 w 10235564"/>
                <a:gd name="csY106" fmla="*/ 161163 h 2064960"/>
                <a:gd name="csX107" fmla="*/ 6187250 w 10235564"/>
                <a:gd name="csY107" fmla="*/ 165449 h 2064960"/>
                <a:gd name="csX108" fmla="*/ 6184011 w 10235564"/>
                <a:gd name="csY108" fmla="*/ 164402 h 2064960"/>
                <a:gd name="csX109" fmla="*/ 6177630 w 10235564"/>
                <a:gd name="csY109" fmla="*/ 161163 h 2064960"/>
                <a:gd name="csX110" fmla="*/ 6163723 w 10235564"/>
                <a:gd name="csY110" fmla="*/ 154210 h 2064960"/>
                <a:gd name="csX111" fmla="*/ 6144483 w 10235564"/>
                <a:gd name="csY111" fmla="*/ 145161 h 2064960"/>
                <a:gd name="csX112" fmla="*/ 6096953 w 10235564"/>
                <a:gd name="csY112" fmla="*/ 128587 h 2064960"/>
                <a:gd name="csX113" fmla="*/ 6001322 w 10235564"/>
                <a:gd name="csY113" fmla="*/ 124873 h 2064960"/>
                <a:gd name="csX114" fmla="*/ 5966555 w 10235564"/>
                <a:gd name="csY114" fmla="*/ 139827 h 2064960"/>
                <a:gd name="csX115" fmla="*/ 5940933 w 10235564"/>
                <a:gd name="csY115" fmla="*/ 168116 h 2064960"/>
                <a:gd name="csX116" fmla="*/ 5930742 w 10235564"/>
                <a:gd name="csY116" fmla="*/ 212407 h 2064960"/>
                <a:gd name="csX117" fmla="*/ 5954268 w 10235564"/>
                <a:gd name="csY117" fmla="*/ 268510 h 2064960"/>
                <a:gd name="csX118" fmla="*/ 6009799 w 10235564"/>
                <a:gd name="csY118" fmla="*/ 307467 h 2064960"/>
                <a:gd name="csX119" fmla="*/ 6043994 w 10235564"/>
                <a:gd name="csY119" fmla="*/ 324040 h 2064960"/>
                <a:gd name="csX120" fmla="*/ 6080284 w 10235564"/>
                <a:gd name="csY120" fmla="*/ 341662 h 2064960"/>
                <a:gd name="csX121" fmla="*/ 6117145 w 10235564"/>
                <a:gd name="csY121" fmla="*/ 361950 h 2064960"/>
                <a:gd name="csX122" fmla="*/ 6152864 w 10235564"/>
                <a:gd name="csY122" fmla="*/ 384334 h 2064960"/>
                <a:gd name="csX123" fmla="*/ 6217539 w 10235564"/>
                <a:gd name="csY123" fmla="*/ 455866 h 2064960"/>
                <a:gd name="csX124" fmla="*/ 6241543 w 10235564"/>
                <a:gd name="csY124" fmla="*/ 556260 h 2064960"/>
                <a:gd name="csX125" fmla="*/ 6224969 w 10235564"/>
                <a:gd name="csY125" fmla="*/ 645414 h 2064960"/>
                <a:gd name="csX126" fmla="*/ 6179058 w 10235564"/>
                <a:gd name="csY126" fmla="*/ 713804 h 2064960"/>
                <a:gd name="csX127" fmla="*/ 6109049 w 10235564"/>
                <a:gd name="csY127" fmla="*/ 757618 h 2064960"/>
                <a:gd name="csX128" fmla="*/ 6019324 w 10235564"/>
                <a:gd name="csY128" fmla="*/ 773144 h 2064960"/>
                <a:gd name="csX129" fmla="*/ 5939219 w 10235564"/>
                <a:gd name="csY129" fmla="*/ 766191 h 2064960"/>
                <a:gd name="csX130" fmla="*/ 6419946 w 10235564"/>
                <a:gd name="csY130" fmla="*/ 756475 h 2064960"/>
                <a:gd name="csX131" fmla="*/ 6381464 w 10235564"/>
                <a:gd name="csY131" fmla="*/ 712184 h 2064960"/>
                <a:gd name="csX132" fmla="*/ 6367082 w 10235564"/>
                <a:gd name="csY132" fmla="*/ 648652 h 2064960"/>
                <a:gd name="csX133" fmla="*/ 6364986 w 10235564"/>
                <a:gd name="csY133" fmla="*/ 575500 h 2064960"/>
                <a:gd name="csX134" fmla="*/ 6364986 w 10235564"/>
                <a:gd name="csY134" fmla="*/ 326707 h 2064960"/>
                <a:gd name="csX135" fmla="*/ 6280595 w 10235564"/>
                <a:gd name="csY135" fmla="*/ 326707 h 2064960"/>
                <a:gd name="csX136" fmla="*/ 6274213 w 10235564"/>
                <a:gd name="csY136" fmla="*/ 320326 h 2064960"/>
                <a:gd name="csX137" fmla="*/ 6274213 w 10235564"/>
                <a:gd name="csY137" fmla="*/ 250889 h 2064960"/>
                <a:gd name="csX138" fmla="*/ 6280595 w 10235564"/>
                <a:gd name="csY138" fmla="*/ 244507 h 2064960"/>
                <a:gd name="csX139" fmla="*/ 6364986 w 10235564"/>
                <a:gd name="csY139" fmla="*/ 244507 h 2064960"/>
                <a:gd name="csX140" fmla="*/ 6364986 w 10235564"/>
                <a:gd name="csY140" fmla="*/ 101441 h 2064960"/>
                <a:gd name="csX141" fmla="*/ 6366605 w 10235564"/>
                <a:gd name="csY141" fmla="*/ 94012 h 2064960"/>
                <a:gd name="csX142" fmla="*/ 6374606 w 10235564"/>
                <a:gd name="csY142" fmla="*/ 90773 h 2064960"/>
                <a:gd name="csX143" fmla="*/ 6468618 w 10235564"/>
                <a:gd name="csY143" fmla="*/ 77915 h 2064960"/>
                <a:gd name="csX144" fmla="*/ 6475000 w 10235564"/>
                <a:gd name="csY144" fmla="*/ 76867 h 2064960"/>
                <a:gd name="csX145" fmla="*/ 6481382 w 10235564"/>
                <a:gd name="csY145" fmla="*/ 77915 h 2064960"/>
                <a:gd name="csX146" fmla="*/ 6483477 w 10235564"/>
                <a:gd name="csY146" fmla="*/ 87535 h 2064960"/>
                <a:gd name="csX147" fmla="*/ 6483477 w 10235564"/>
                <a:gd name="csY147" fmla="*/ 244507 h 2064960"/>
                <a:gd name="csX148" fmla="*/ 6620256 w 10235564"/>
                <a:gd name="csY148" fmla="*/ 244507 h 2064960"/>
                <a:gd name="csX149" fmla="*/ 6623495 w 10235564"/>
                <a:gd name="csY149" fmla="*/ 248793 h 2064960"/>
                <a:gd name="csX150" fmla="*/ 6622447 w 10235564"/>
                <a:gd name="csY150" fmla="*/ 254127 h 2064960"/>
                <a:gd name="csX151" fmla="*/ 6608540 w 10235564"/>
                <a:gd name="csY151" fmla="*/ 317087 h 2064960"/>
                <a:gd name="csX152" fmla="*/ 6604826 w 10235564"/>
                <a:gd name="csY152" fmla="*/ 325088 h 2064960"/>
                <a:gd name="csX153" fmla="*/ 6597873 w 10235564"/>
                <a:gd name="csY153" fmla="*/ 326707 h 2064960"/>
                <a:gd name="csX154" fmla="*/ 6483573 w 10235564"/>
                <a:gd name="csY154" fmla="*/ 326707 h 2064960"/>
                <a:gd name="csX155" fmla="*/ 6483573 w 10235564"/>
                <a:gd name="csY155" fmla="*/ 593693 h 2064960"/>
                <a:gd name="csX156" fmla="*/ 6490526 w 10235564"/>
                <a:gd name="csY156" fmla="*/ 645509 h 2064960"/>
                <a:gd name="csX157" fmla="*/ 6528435 w 10235564"/>
                <a:gd name="csY157" fmla="*/ 667417 h 2064960"/>
                <a:gd name="csX158" fmla="*/ 6559392 w 10235564"/>
                <a:gd name="csY158" fmla="*/ 664178 h 2064960"/>
                <a:gd name="csX159" fmla="*/ 6583966 w 10235564"/>
                <a:gd name="csY159" fmla="*/ 656749 h 2064960"/>
                <a:gd name="csX160" fmla="*/ 6593015 w 10235564"/>
                <a:gd name="csY160" fmla="*/ 653510 h 2064960"/>
                <a:gd name="csX161" fmla="*/ 6601016 w 10235564"/>
                <a:gd name="csY161" fmla="*/ 650272 h 2064960"/>
                <a:gd name="csX162" fmla="*/ 6610636 w 10235564"/>
                <a:gd name="csY162" fmla="*/ 650272 h 2064960"/>
                <a:gd name="csX163" fmla="*/ 6613874 w 10235564"/>
                <a:gd name="csY163" fmla="*/ 654558 h 2064960"/>
                <a:gd name="csX164" fmla="*/ 6634163 w 10235564"/>
                <a:gd name="csY164" fmla="*/ 734663 h 2064960"/>
                <a:gd name="csX165" fmla="*/ 6633115 w 10235564"/>
                <a:gd name="csY165" fmla="*/ 742188 h 2064960"/>
                <a:gd name="csX166" fmla="*/ 6583394 w 10235564"/>
                <a:gd name="csY166" fmla="*/ 764096 h 2064960"/>
                <a:gd name="csX167" fmla="*/ 6494145 w 10235564"/>
                <a:gd name="csY167" fmla="*/ 773144 h 2064960"/>
                <a:gd name="csX168" fmla="*/ 6419850 w 10235564"/>
                <a:gd name="csY168" fmla="*/ 756571 h 2064960"/>
                <a:gd name="csX169" fmla="*/ 7029546 w 10235564"/>
                <a:gd name="csY169" fmla="*/ 768763 h 2064960"/>
                <a:gd name="csX170" fmla="*/ 7022116 w 10235564"/>
                <a:gd name="csY170" fmla="*/ 772001 h 2064960"/>
                <a:gd name="csX171" fmla="*/ 7018878 w 10235564"/>
                <a:gd name="csY171" fmla="*/ 773049 h 2064960"/>
                <a:gd name="csX172" fmla="*/ 7004399 w 10235564"/>
                <a:gd name="csY172" fmla="*/ 751141 h 2064960"/>
                <a:gd name="csX173" fmla="*/ 6991064 w 10235564"/>
                <a:gd name="csY173" fmla="*/ 700373 h 2064960"/>
                <a:gd name="csX174" fmla="*/ 6972396 w 10235564"/>
                <a:gd name="csY174" fmla="*/ 718566 h 2064960"/>
                <a:gd name="csX175" fmla="*/ 6960108 w 10235564"/>
                <a:gd name="csY175" fmla="*/ 730282 h 2064960"/>
                <a:gd name="csX176" fmla="*/ 6948392 w 10235564"/>
                <a:gd name="csY176" fmla="*/ 740474 h 2064960"/>
                <a:gd name="csX177" fmla="*/ 6933438 w 10235564"/>
                <a:gd name="csY177" fmla="*/ 750570 h 2064960"/>
                <a:gd name="csX178" fmla="*/ 6897148 w 10235564"/>
                <a:gd name="csY178" fmla="*/ 766096 h 2064960"/>
                <a:gd name="csX179" fmla="*/ 6846952 w 10235564"/>
                <a:gd name="csY179" fmla="*/ 773049 h 2064960"/>
                <a:gd name="csX180" fmla="*/ 6735794 w 10235564"/>
                <a:gd name="csY180" fmla="*/ 731425 h 2064960"/>
                <a:gd name="csX181" fmla="*/ 6695218 w 10235564"/>
                <a:gd name="csY181" fmla="*/ 617125 h 2064960"/>
                <a:gd name="csX182" fmla="*/ 6709124 w 10235564"/>
                <a:gd name="csY182" fmla="*/ 545021 h 2064960"/>
                <a:gd name="csX183" fmla="*/ 6745986 w 10235564"/>
                <a:gd name="csY183" fmla="*/ 496443 h 2064960"/>
                <a:gd name="csX184" fmla="*/ 6798374 w 10235564"/>
                <a:gd name="csY184" fmla="*/ 467106 h 2064960"/>
                <a:gd name="csX185" fmla="*/ 6858762 w 10235564"/>
                <a:gd name="csY185" fmla="*/ 452152 h 2064960"/>
                <a:gd name="csX186" fmla="*/ 6920199 w 10235564"/>
                <a:gd name="csY186" fmla="*/ 446246 h 2064960"/>
                <a:gd name="csX187" fmla="*/ 6974110 w 10235564"/>
                <a:gd name="csY187" fmla="*/ 445199 h 2064960"/>
                <a:gd name="csX188" fmla="*/ 6974110 w 10235564"/>
                <a:gd name="csY188" fmla="*/ 403574 h 2064960"/>
                <a:gd name="csX189" fmla="*/ 6971443 w 10235564"/>
                <a:gd name="csY189" fmla="*/ 368332 h 2064960"/>
                <a:gd name="csX190" fmla="*/ 6959727 w 10235564"/>
                <a:gd name="csY190" fmla="*/ 340519 h 2064960"/>
                <a:gd name="csX191" fmla="*/ 6934105 w 10235564"/>
                <a:gd name="csY191" fmla="*/ 322326 h 2064960"/>
                <a:gd name="csX192" fmla="*/ 6889814 w 10235564"/>
                <a:gd name="csY192" fmla="*/ 315944 h 2064960"/>
                <a:gd name="csX193" fmla="*/ 6843903 w 10235564"/>
                <a:gd name="csY193" fmla="*/ 321278 h 2064960"/>
                <a:gd name="csX194" fmla="*/ 6803327 w 10235564"/>
                <a:gd name="csY194" fmla="*/ 331946 h 2064960"/>
                <a:gd name="csX195" fmla="*/ 6786753 w 10235564"/>
                <a:gd name="csY195" fmla="*/ 338328 h 2064960"/>
                <a:gd name="csX196" fmla="*/ 6772371 w 10235564"/>
                <a:gd name="csY196" fmla="*/ 343662 h 2064960"/>
                <a:gd name="csX197" fmla="*/ 6759511 w 10235564"/>
                <a:gd name="csY197" fmla="*/ 346900 h 2064960"/>
                <a:gd name="csX198" fmla="*/ 6755226 w 10235564"/>
                <a:gd name="csY198" fmla="*/ 343662 h 2064960"/>
                <a:gd name="csX199" fmla="*/ 6733889 w 10235564"/>
                <a:gd name="csY199" fmla="*/ 278511 h 2064960"/>
                <a:gd name="csX200" fmla="*/ 6731794 w 10235564"/>
                <a:gd name="csY200" fmla="*/ 273177 h 2064960"/>
                <a:gd name="csX201" fmla="*/ 6730746 w 10235564"/>
                <a:gd name="csY201" fmla="*/ 267843 h 2064960"/>
                <a:gd name="csX202" fmla="*/ 6747796 w 10235564"/>
                <a:gd name="csY202" fmla="*/ 254984 h 2064960"/>
                <a:gd name="csX203" fmla="*/ 6791039 w 10235564"/>
                <a:gd name="csY203" fmla="*/ 241078 h 2064960"/>
                <a:gd name="csX204" fmla="*/ 6849237 w 10235564"/>
                <a:gd name="csY204" fmla="*/ 230410 h 2064960"/>
                <a:gd name="csX205" fmla="*/ 6910102 w 10235564"/>
                <a:gd name="csY205" fmla="*/ 226124 h 2064960"/>
                <a:gd name="csX206" fmla="*/ 7046310 w 10235564"/>
                <a:gd name="csY206" fmla="*/ 267748 h 2064960"/>
                <a:gd name="csX207" fmla="*/ 7085362 w 10235564"/>
                <a:gd name="csY207" fmla="*/ 389477 h 2064960"/>
                <a:gd name="csX208" fmla="*/ 7085362 w 10235564"/>
                <a:gd name="csY208" fmla="*/ 595598 h 2064960"/>
                <a:gd name="csX209" fmla="*/ 7089648 w 10235564"/>
                <a:gd name="csY209" fmla="*/ 659701 h 2064960"/>
                <a:gd name="csX210" fmla="*/ 7099269 w 10235564"/>
                <a:gd name="csY210" fmla="*/ 699230 h 2064960"/>
                <a:gd name="csX211" fmla="*/ 7104603 w 10235564"/>
                <a:gd name="csY211" fmla="*/ 711517 h 2064960"/>
                <a:gd name="csX212" fmla="*/ 7108889 w 10235564"/>
                <a:gd name="csY212" fmla="*/ 721709 h 2064960"/>
                <a:gd name="csX213" fmla="*/ 7113175 w 10235564"/>
                <a:gd name="csY213" fmla="*/ 732377 h 2064960"/>
                <a:gd name="csX214" fmla="*/ 7108889 w 10235564"/>
                <a:gd name="csY214" fmla="*/ 736664 h 2064960"/>
                <a:gd name="csX215" fmla="*/ 7029831 w 10235564"/>
                <a:gd name="csY215" fmla="*/ 768667 h 2064960"/>
                <a:gd name="csX216" fmla="*/ 7029831 w 10235564"/>
                <a:gd name="csY216" fmla="*/ 768667 h 2064960"/>
                <a:gd name="csX217" fmla="*/ 6930200 w 10235564"/>
                <a:gd name="csY217" fmla="*/ 515683 h 2064960"/>
                <a:gd name="csX218" fmla="*/ 6905054 w 10235564"/>
                <a:gd name="csY218" fmla="*/ 517779 h 2064960"/>
                <a:gd name="csX219" fmla="*/ 6877812 w 10235564"/>
                <a:gd name="csY219" fmla="*/ 523113 h 2064960"/>
                <a:gd name="csX220" fmla="*/ 6828092 w 10235564"/>
                <a:gd name="csY220" fmla="*/ 550355 h 2064960"/>
                <a:gd name="csX221" fmla="*/ 6806184 w 10235564"/>
                <a:gd name="csY221" fmla="*/ 609600 h 2064960"/>
                <a:gd name="csX222" fmla="*/ 6828663 w 10235564"/>
                <a:gd name="csY222" fmla="*/ 667226 h 2064960"/>
                <a:gd name="csX223" fmla="*/ 6885242 w 10235564"/>
                <a:gd name="csY223" fmla="*/ 690753 h 2064960"/>
                <a:gd name="csX224" fmla="*/ 6939725 w 10235564"/>
                <a:gd name="csY224" fmla="*/ 674180 h 2064960"/>
                <a:gd name="csX225" fmla="*/ 6973919 w 10235564"/>
                <a:gd name="csY225" fmla="*/ 644842 h 2064960"/>
                <a:gd name="csX226" fmla="*/ 6973919 w 10235564"/>
                <a:gd name="csY226" fmla="*/ 515588 h 2064960"/>
                <a:gd name="csX227" fmla="*/ 6930105 w 10235564"/>
                <a:gd name="csY227" fmla="*/ 515588 h 2064960"/>
                <a:gd name="csX228" fmla="*/ 7442930 w 10235564"/>
                <a:gd name="csY228" fmla="*/ 755904 h 2064960"/>
                <a:gd name="csX229" fmla="*/ 7439216 w 10235564"/>
                <a:gd name="csY229" fmla="*/ 762857 h 2064960"/>
                <a:gd name="csX230" fmla="*/ 7431215 w 10235564"/>
                <a:gd name="csY230" fmla="*/ 764476 h 2064960"/>
                <a:gd name="csX231" fmla="*/ 7343585 w 10235564"/>
                <a:gd name="csY231" fmla="*/ 764476 h 2064960"/>
                <a:gd name="csX232" fmla="*/ 7335584 w 10235564"/>
                <a:gd name="csY232" fmla="*/ 762857 h 2064960"/>
                <a:gd name="csX233" fmla="*/ 7331869 w 10235564"/>
                <a:gd name="csY233" fmla="*/ 755904 h 2064960"/>
                <a:gd name="csX234" fmla="*/ 7160895 w 10235564"/>
                <a:gd name="csY234" fmla="*/ 263652 h 2064960"/>
                <a:gd name="csX235" fmla="*/ 7159276 w 10235564"/>
                <a:gd name="csY235" fmla="*/ 257747 h 2064960"/>
                <a:gd name="csX236" fmla="*/ 7158705 w 10235564"/>
                <a:gd name="csY236" fmla="*/ 250793 h 2064960"/>
                <a:gd name="csX237" fmla="*/ 7172611 w 10235564"/>
                <a:gd name="csY237" fmla="*/ 245459 h 2064960"/>
                <a:gd name="csX238" fmla="*/ 7260241 w 10235564"/>
                <a:gd name="csY238" fmla="*/ 235839 h 2064960"/>
                <a:gd name="csX239" fmla="*/ 7267766 w 10235564"/>
                <a:gd name="csY239" fmla="*/ 235268 h 2064960"/>
                <a:gd name="csX240" fmla="*/ 7274148 w 10235564"/>
                <a:gd name="csY240" fmla="*/ 234696 h 2064960"/>
                <a:gd name="csX241" fmla="*/ 7280529 w 10235564"/>
                <a:gd name="csY241" fmla="*/ 239458 h 2064960"/>
                <a:gd name="csX242" fmla="*/ 7283768 w 10235564"/>
                <a:gd name="csY242" fmla="*/ 249555 h 2064960"/>
                <a:gd name="csX243" fmla="*/ 7348919 w 10235564"/>
                <a:gd name="csY243" fmla="*/ 489871 h 2064960"/>
                <a:gd name="csX244" fmla="*/ 7359110 w 10235564"/>
                <a:gd name="csY244" fmla="*/ 526733 h 2064960"/>
                <a:gd name="csX245" fmla="*/ 7370350 w 10235564"/>
                <a:gd name="csY245" fmla="*/ 569405 h 2064960"/>
                <a:gd name="csX246" fmla="*/ 7381018 w 10235564"/>
                <a:gd name="csY246" fmla="*/ 612648 h 2064960"/>
                <a:gd name="csX247" fmla="*/ 7389590 w 10235564"/>
                <a:gd name="csY247" fmla="*/ 651129 h 2064960"/>
                <a:gd name="csX248" fmla="*/ 7395972 w 10235564"/>
                <a:gd name="csY248" fmla="*/ 651129 h 2064960"/>
                <a:gd name="csX249" fmla="*/ 7405592 w 10235564"/>
                <a:gd name="csY249" fmla="*/ 612648 h 2064960"/>
                <a:gd name="csX250" fmla="*/ 7428548 w 10235564"/>
                <a:gd name="csY250" fmla="*/ 526637 h 2064960"/>
                <a:gd name="csX251" fmla="*/ 7438739 w 10235564"/>
                <a:gd name="csY251" fmla="*/ 489775 h 2064960"/>
                <a:gd name="csX252" fmla="*/ 7511415 w 10235564"/>
                <a:gd name="csY252" fmla="*/ 249460 h 2064960"/>
                <a:gd name="csX253" fmla="*/ 7515701 w 10235564"/>
                <a:gd name="csY253" fmla="*/ 237744 h 2064960"/>
                <a:gd name="csX254" fmla="*/ 7521035 w 10235564"/>
                <a:gd name="csY254" fmla="*/ 234506 h 2064960"/>
                <a:gd name="csX255" fmla="*/ 7523131 w 10235564"/>
                <a:gd name="csY255" fmla="*/ 234506 h 2064960"/>
                <a:gd name="csX256" fmla="*/ 7528465 w 10235564"/>
                <a:gd name="csY256" fmla="*/ 235077 h 2064960"/>
                <a:gd name="csX257" fmla="*/ 7533799 w 10235564"/>
                <a:gd name="csY257" fmla="*/ 235649 h 2064960"/>
                <a:gd name="csX258" fmla="*/ 7606475 w 10235564"/>
                <a:gd name="csY258" fmla="*/ 245269 h 2064960"/>
                <a:gd name="csX259" fmla="*/ 7617714 w 10235564"/>
                <a:gd name="csY259" fmla="*/ 246888 h 2064960"/>
                <a:gd name="csX260" fmla="*/ 7621429 w 10235564"/>
                <a:gd name="csY260" fmla="*/ 250603 h 2064960"/>
                <a:gd name="csX261" fmla="*/ 7619333 w 10235564"/>
                <a:gd name="csY261" fmla="*/ 258604 h 2064960"/>
                <a:gd name="csX262" fmla="*/ 7618286 w 10235564"/>
                <a:gd name="csY262" fmla="*/ 263366 h 2064960"/>
                <a:gd name="csX263" fmla="*/ 7443026 w 10235564"/>
                <a:gd name="csY263" fmla="*/ 755618 h 2064960"/>
                <a:gd name="csX264" fmla="*/ 7443026 w 10235564"/>
                <a:gd name="csY264" fmla="*/ 755618 h 2064960"/>
                <a:gd name="csX265" fmla="*/ 7783830 w 10235564"/>
                <a:gd name="csY265" fmla="*/ 527399 h 2064960"/>
                <a:gd name="csX266" fmla="*/ 7788211 w 10235564"/>
                <a:gd name="csY266" fmla="*/ 580263 h 2064960"/>
                <a:gd name="csX267" fmla="*/ 7806309 w 10235564"/>
                <a:gd name="csY267" fmla="*/ 628841 h 2064960"/>
                <a:gd name="csX268" fmla="*/ 7844790 w 10235564"/>
                <a:gd name="csY268" fmla="*/ 664083 h 2064960"/>
                <a:gd name="csX269" fmla="*/ 7909941 w 10235564"/>
                <a:gd name="csY269" fmla="*/ 677990 h 2064960"/>
                <a:gd name="csX270" fmla="*/ 7963376 w 10235564"/>
                <a:gd name="csY270" fmla="*/ 672084 h 2064960"/>
                <a:gd name="csX271" fmla="*/ 8003953 w 10235564"/>
                <a:gd name="csY271" fmla="*/ 659797 h 2064960"/>
                <a:gd name="csX272" fmla="*/ 8032814 w 10235564"/>
                <a:gd name="csY272" fmla="*/ 646938 h 2064960"/>
                <a:gd name="csX273" fmla="*/ 8039767 w 10235564"/>
                <a:gd name="csY273" fmla="*/ 643699 h 2064960"/>
                <a:gd name="csX274" fmla="*/ 8044530 w 10235564"/>
                <a:gd name="csY274" fmla="*/ 642652 h 2064960"/>
                <a:gd name="csX275" fmla="*/ 8049864 w 10235564"/>
                <a:gd name="csY275" fmla="*/ 646938 h 2064960"/>
                <a:gd name="csX276" fmla="*/ 8078724 w 10235564"/>
                <a:gd name="csY276" fmla="*/ 712089 h 2064960"/>
                <a:gd name="csX277" fmla="*/ 8077676 w 10235564"/>
                <a:gd name="csY277" fmla="*/ 721709 h 2064960"/>
                <a:gd name="csX278" fmla="*/ 8052530 w 10235564"/>
                <a:gd name="csY278" fmla="*/ 738283 h 2064960"/>
                <a:gd name="csX279" fmla="*/ 8009763 w 10235564"/>
                <a:gd name="csY279" fmla="*/ 755333 h 2064960"/>
                <a:gd name="csX280" fmla="*/ 7955280 w 10235564"/>
                <a:gd name="csY280" fmla="*/ 768191 h 2064960"/>
                <a:gd name="csX281" fmla="*/ 7895939 w 10235564"/>
                <a:gd name="csY281" fmla="*/ 772954 h 2064960"/>
                <a:gd name="csX282" fmla="*/ 7802499 w 10235564"/>
                <a:gd name="csY282" fmla="*/ 757999 h 2064960"/>
                <a:gd name="csX283" fmla="*/ 7729824 w 10235564"/>
                <a:gd name="csY283" fmla="*/ 711041 h 2064960"/>
                <a:gd name="csX284" fmla="*/ 7682294 w 10235564"/>
                <a:gd name="csY284" fmla="*/ 627698 h 2064960"/>
                <a:gd name="csX285" fmla="*/ 7665244 w 10235564"/>
                <a:gd name="csY285" fmla="*/ 504920 h 2064960"/>
                <a:gd name="csX286" fmla="*/ 7681246 w 10235564"/>
                <a:gd name="csY286" fmla="*/ 390620 h 2064960"/>
                <a:gd name="csX287" fmla="*/ 7726680 w 10235564"/>
                <a:gd name="csY287" fmla="*/ 303086 h 2064960"/>
                <a:gd name="csX288" fmla="*/ 7797736 w 10235564"/>
                <a:gd name="csY288" fmla="*/ 246507 h 2064960"/>
                <a:gd name="csX289" fmla="*/ 7890701 w 10235564"/>
                <a:gd name="csY289" fmla="*/ 226219 h 2064960"/>
                <a:gd name="csX290" fmla="*/ 7995952 w 10235564"/>
                <a:gd name="csY290" fmla="*/ 251841 h 2064960"/>
                <a:gd name="csX291" fmla="*/ 8058436 w 10235564"/>
                <a:gd name="csY291" fmla="*/ 318611 h 2064960"/>
                <a:gd name="csX292" fmla="*/ 8088344 w 10235564"/>
                <a:gd name="csY292" fmla="*/ 409956 h 2064960"/>
                <a:gd name="csX293" fmla="*/ 8095869 w 10235564"/>
                <a:gd name="csY293" fmla="*/ 509302 h 2064960"/>
                <a:gd name="csX294" fmla="*/ 8093774 w 10235564"/>
                <a:gd name="csY294" fmla="*/ 524827 h 2064960"/>
                <a:gd name="csX295" fmla="*/ 8079868 w 10235564"/>
                <a:gd name="csY295" fmla="*/ 527495 h 2064960"/>
                <a:gd name="csX296" fmla="*/ 7783926 w 10235564"/>
                <a:gd name="csY296" fmla="*/ 527495 h 2064960"/>
                <a:gd name="csX297" fmla="*/ 7829264 w 10235564"/>
                <a:gd name="csY297" fmla="*/ 324517 h 2064960"/>
                <a:gd name="csX298" fmla="*/ 7799928 w 10235564"/>
                <a:gd name="csY298" fmla="*/ 361855 h 2064960"/>
                <a:gd name="csX299" fmla="*/ 7788211 w 10235564"/>
                <a:gd name="csY299" fmla="*/ 403003 h 2064960"/>
                <a:gd name="csX300" fmla="*/ 7782878 w 10235564"/>
                <a:gd name="csY300" fmla="*/ 445199 h 2064960"/>
                <a:gd name="csX301" fmla="*/ 7968710 w 10235564"/>
                <a:gd name="csY301" fmla="*/ 445199 h 2064960"/>
                <a:gd name="csX302" fmla="*/ 7966615 w 10235564"/>
                <a:gd name="csY302" fmla="*/ 400336 h 2064960"/>
                <a:gd name="csX303" fmla="*/ 7955947 w 10235564"/>
                <a:gd name="csY303" fmla="*/ 356045 h 2064960"/>
                <a:gd name="csX304" fmla="*/ 7930325 w 10235564"/>
                <a:gd name="csY304" fmla="*/ 321850 h 2064960"/>
                <a:gd name="csX305" fmla="*/ 7883271 w 10235564"/>
                <a:gd name="csY305" fmla="*/ 308515 h 2064960"/>
                <a:gd name="csX306" fmla="*/ 7829360 w 10235564"/>
                <a:gd name="csY306" fmla="*/ 324517 h 2064960"/>
                <a:gd name="csX307" fmla="*/ 7829360 w 10235564"/>
                <a:gd name="csY307" fmla="*/ 324517 h 2064960"/>
                <a:gd name="csX308" fmla="*/ 8386858 w 10235564"/>
                <a:gd name="csY308" fmla="*/ 768191 h 2064960"/>
                <a:gd name="csX309" fmla="*/ 8360188 w 10235564"/>
                <a:gd name="csY309" fmla="*/ 757047 h 2064960"/>
                <a:gd name="csX310" fmla="*/ 8350568 w 10235564"/>
                <a:gd name="csY310" fmla="*/ 750094 h 2064960"/>
                <a:gd name="csX311" fmla="*/ 8341995 w 10235564"/>
                <a:gd name="csY311" fmla="*/ 743141 h 2064960"/>
                <a:gd name="csX312" fmla="*/ 8333423 w 10235564"/>
                <a:gd name="csY312" fmla="*/ 734092 h 2064960"/>
                <a:gd name="csX313" fmla="*/ 8318469 w 10235564"/>
                <a:gd name="csY313" fmla="*/ 718566 h 2064960"/>
                <a:gd name="csX314" fmla="*/ 8309896 w 10235564"/>
                <a:gd name="csY314" fmla="*/ 742093 h 2064960"/>
                <a:gd name="csX315" fmla="*/ 8302371 w 10235564"/>
                <a:gd name="csY315" fmla="*/ 759142 h 2064960"/>
                <a:gd name="csX316" fmla="*/ 8297609 w 10235564"/>
                <a:gd name="csY316" fmla="*/ 768763 h 2064960"/>
                <a:gd name="csX317" fmla="*/ 8290655 w 10235564"/>
                <a:gd name="csY317" fmla="*/ 773049 h 2064960"/>
                <a:gd name="csX318" fmla="*/ 8277797 w 10235564"/>
                <a:gd name="csY318" fmla="*/ 770954 h 2064960"/>
                <a:gd name="csX319" fmla="*/ 8198739 w 10235564"/>
                <a:gd name="csY319" fmla="*/ 751713 h 2064960"/>
                <a:gd name="csX320" fmla="*/ 8190167 w 10235564"/>
                <a:gd name="csY320" fmla="*/ 747427 h 2064960"/>
                <a:gd name="csX321" fmla="*/ 8190167 w 10235564"/>
                <a:gd name="csY321" fmla="*/ 743141 h 2064960"/>
                <a:gd name="csX322" fmla="*/ 8191786 w 10235564"/>
                <a:gd name="csY322" fmla="*/ 739902 h 2064960"/>
                <a:gd name="csX323" fmla="*/ 8194453 w 10235564"/>
                <a:gd name="csY323" fmla="*/ 735616 h 2064960"/>
                <a:gd name="csX324" fmla="*/ 8209407 w 10235564"/>
                <a:gd name="csY324" fmla="*/ 682181 h 2064960"/>
                <a:gd name="csX325" fmla="*/ 8211503 w 10235564"/>
                <a:gd name="csY325" fmla="*/ 627698 h 2064960"/>
                <a:gd name="csX326" fmla="*/ 8211503 w 10235564"/>
                <a:gd name="csY326" fmla="*/ 31814 h 2064960"/>
                <a:gd name="csX327" fmla="*/ 8212551 w 10235564"/>
                <a:gd name="csY327" fmla="*/ 25432 h 2064960"/>
                <a:gd name="csX328" fmla="*/ 8220075 w 10235564"/>
                <a:gd name="csY328" fmla="*/ 21145 h 2064960"/>
                <a:gd name="csX329" fmla="*/ 8314087 w 10235564"/>
                <a:gd name="csY329" fmla="*/ 1905 h 2064960"/>
                <a:gd name="csX330" fmla="*/ 8317802 w 10235564"/>
                <a:gd name="csY330" fmla="*/ 1333 h 2064960"/>
                <a:gd name="csX331" fmla="*/ 8321517 w 10235564"/>
                <a:gd name="csY331" fmla="*/ 762 h 2064960"/>
                <a:gd name="csX332" fmla="*/ 8322564 w 10235564"/>
                <a:gd name="csY332" fmla="*/ 190 h 2064960"/>
                <a:gd name="csX333" fmla="*/ 8326851 w 10235564"/>
                <a:gd name="csY333" fmla="*/ 762 h 2064960"/>
                <a:gd name="csX334" fmla="*/ 8330089 w 10235564"/>
                <a:gd name="csY334" fmla="*/ 12478 h 2064960"/>
                <a:gd name="csX335" fmla="*/ 8330089 w 10235564"/>
                <a:gd name="csY335" fmla="*/ 281559 h 2064960"/>
                <a:gd name="csX336" fmla="*/ 8357902 w 10235564"/>
                <a:gd name="csY336" fmla="*/ 261271 h 2064960"/>
                <a:gd name="csX337" fmla="*/ 8387810 w 10235564"/>
                <a:gd name="csY337" fmla="*/ 243078 h 2064960"/>
                <a:gd name="csX338" fmla="*/ 8418766 w 10235564"/>
                <a:gd name="csY338" fmla="*/ 231362 h 2064960"/>
                <a:gd name="csX339" fmla="*/ 8457248 w 10235564"/>
                <a:gd name="csY339" fmla="*/ 226028 h 2064960"/>
                <a:gd name="csX340" fmla="*/ 8542687 w 10235564"/>
                <a:gd name="csY340" fmla="*/ 246888 h 2064960"/>
                <a:gd name="csX341" fmla="*/ 8597741 w 10235564"/>
                <a:gd name="csY341" fmla="*/ 302990 h 2064960"/>
                <a:gd name="csX342" fmla="*/ 8627078 w 10235564"/>
                <a:gd name="csY342" fmla="*/ 385191 h 2064960"/>
                <a:gd name="csX343" fmla="*/ 8635651 w 10235564"/>
                <a:gd name="csY343" fmla="*/ 484537 h 2064960"/>
                <a:gd name="csX344" fmla="*/ 8580596 w 10235564"/>
                <a:gd name="csY344" fmla="*/ 696468 h 2064960"/>
                <a:gd name="csX345" fmla="*/ 8423053 w 10235564"/>
                <a:gd name="csY345" fmla="*/ 772858 h 2064960"/>
                <a:gd name="csX346" fmla="*/ 8386763 w 10235564"/>
                <a:gd name="csY346" fmla="*/ 768096 h 2064960"/>
                <a:gd name="csX347" fmla="*/ 8376190 w 10235564"/>
                <a:gd name="csY347" fmla="*/ 323945 h 2064960"/>
                <a:gd name="csX348" fmla="*/ 8345234 w 10235564"/>
                <a:gd name="csY348" fmla="*/ 343662 h 2064960"/>
                <a:gd name="csX349" fmla="*/ 8338852 w 10235564"/>
                <a:gd name="csY349" fmla="*/ 349568 h 2064960"/>
                <a:gd name="csX350" fmla="*/ 8330280 w 10235564"/>
                <a:gd name="csY350" fmla="*/ 356521 h 2064960"/>
                <a:gd name="csX351" fmla="*/ 8330280 w 10235564"/>
                <a:gd name="csY351" fmla="*/ 656558 h 2064960"/>
                <a:gd name="csX352" fmla="*/ 8340948 w 10235564"/>
                <a:gd name="csY352" fmla="*/ 665131 h 2064960"/>
                <a:gd name="csX353" fmla="*/ 8392192 w 10235564"/>
                <a:gd name="csY353" fmla="*/ 683324 h 2064960"/>
                <a:gd name="csX354" fmla="*/ 8456866 w 10235564"/>
                <a:gd name="csY354" fmla="*/ 665131 h 2064960"/>
                <a:gd name="csX355" fmla="*/ 8494776 w 10235564"/>
                <a:gd name="csY355" fmla="*/ 618649 h 2064960"/>
                <a:gd name="csX356" fmla="*/ 8512969 w 10235564"/>
                <a:gd name="csY356" fmla="*/ 556736 h 2064960"/>
                <a:gd name="csX357" fmla="*/ 8517255 w 10235564"/>
                <a:gd name="csY357" fmla="*/ 492157 h 2064960"/>
                <a:gd name="csX358" fmla="*/ 8513540 w 10235564"/>
                <a:gd name="csY358" fmla="*/ 429673 h 2064960"/>
                <a:gd name="csX359" fmla="*/ 8498586 w 10235564"/>
                <a:gd name="csY359" fmla="*/ 373094 h 2064960"/>
                <a:gd name="csX360" fmla="*/ 8467058 w 10235564"/>
                <a:gd name="csY360" fmla="*/ 331946 h 2064960"/>
                <a:gd name="csX361" fmla="*/ 8412575 w 10235564"/>
                <a:gd name="csY361" fmla="*/ 315944 h 2064960"/>
                <a:gd name="csX362" fmla="*/ 8376285 w 10235564"/>
                <a:gd name="csY362" fmla="*/ 323945 h 2064960"/>
                <a:gd name="csX363" fmla="*/ 9050464 w 10235564"/>
                <a:gd name="csY363" fmla="*/ 754856 h 2064960"/>
                <a:gd name="csX364" fmla="*/ 9044083 w 10235564"/>
                <a:gd name="csY364" fmla="*/ 748474 h 2064960"/>
                <a:gd name="csX365" fmla="*/ 9044083 w 10235564"/>
                <a:gd name="csY365" fmla="*/ 419576 h 2064960"/>
                <a:gd name="csX366" fmla="*/ 9042464 w 10235564"/>
                <a:gd name="csY366" fmla="*/ 387572 h 2064960"/>
                <a:gd name="csX367" fmla="*/ 9033891 w 10235564"/>
                <a:gd name="csY367" fmla="*/ 356045 h 2064960"/>
                <a:gd name="csX368" fmla="*/ 9013603 w 10235564"/>
                <a:gd name="csY368" fmla="*/ 331470 h 2064960"/>
                <a:gd name="csX369" fmla="*/ 8975693 w 10235564"/>
                <a:gd name="csY369" fmla="*/ 321278 h 2064960"/>
                <a:gd name="csX370" fmla="*/ 8941498 w 10235564"/>
                <a:gd name="csY370" fmla="*/ 326612 h 2064960"/>
                <a:gd name="csX371" fmla="*/ 8889682 w 10235564"/>
                <a:gd name="csY371" fmla="*/ 355473 h 2064960"/>
                <a:gd name="csX372" fmla="*/ 8873109 w 10235564"/>
                <a:gd name="csY372" fmla="*/ 369379 h 2064960"/>
                <a:gd name="csX373" fmla="*/ 8873109 w 10235564"/>
                <a:gd name="csY373" fmla="*/ 748474 h 2064960"/>
                <a:gd name="csX374" fmla="*/ 8866727 w 10235564"/>
                <a:gd name="csY374" fmla="*/ 754856 h 2064960"/>
                <a:gd name="csX375" fmla="*/ 8761000 w 10235564"/>
                <a:gd name="csY375" fmla="*/ 754856 h 2064960"/>
                <a:gd name="csX376" fmla="*/ 8754618 w 10235564"/>
                <a:gd name="csY376" fmla="*/ 748474 h 2064960"/>
                <a:gd name="csX377" fmla="*/ 8754618 w 10235564"/>
                <a:gd name="csY377" fmla="*/ 425958 h 2064960"/>
                <a:gd name="csX378" fmla="*/ 8751380 w 10235564"/>
                <a:gd name="csY378" fmla="*/ 338423 h 2064960"/>
                <a:gd name="csX379" fmla="*/ 8743855 w 10235564"/>
                <a:gd name="csY379" fmla="*/ 293561 h 2064960"/>
                <a:gd name="csX380" fmla="*/ 8740140 w 10235564"/>
                <a:gd name="csY380" fmla="*/ 280225 h 2064960"/>
                <a:gd name="csX381" fmla="*/ 8736425 w 10235564"/>
                <a:gd name="csY381" fmla="*/ 271177 h 2064960"/>
                <a:gd name="csX382" fmla="*/ 8735377 w 10235564"/>
                <a:gd name="csY382" fmla="*/ 261557 h 2064960"/>
                <a:gd name="csX383" fmla="*/ 8739664 w 10235564"/>
                <a:gd name="csY383" fmla="*/ 256223 h 2064960"/>
                <a:gd name="csX384" fmla="*/ 8820817 w 10235564"/>
                <a:gd name="csY384" fmla="*/ 229553 h 2064960"/>
                <a:gd name="csX385" fmla="*/ 8831009 w 10235564"/>
                <a:gd name="csY385" fmla="*/ 226314 h 2064960"/>
                <a:gd name="csX386" fmla="*/ 8837962 w 10235564"/>
                <a:gd name="csY386" fmla="*/ 228410 h 2064960"/>
                <a:gd name="csX387" fmla="*/ 8849201 w 10235564"/>
                <a:gd name="csY387" fmla="*/ 250793 h 2064960"/>
                <a:gd name="csX388" fmla="*/ 8863584 w 10235564"/>
                <a:gd name="csY388" fmla="*/ 307372 h 2064960"/>
                <a:gd name="csX389" fmla="*/ 8885491 w 10235564"/>
                <a:gd name="csY389" fmla="*/ 288131 h 2064960"/>
                <a:gd name="csX390" fmla="*/ 8901017 w 10235564"/>
                <a:gd name="csY390" fmla="*/ 274225 h 2064960"/>
                <a:gd name="csX391" fmla="*/ 8961882 w 10235564"/>
                <a:gd name="csY391" fmla="*/ 238411 h 2064960"/>
                <a:gd name="csX392" fmla="*/ 9032367 w 10235564"/>
                <a:gd name="csY392" fmla="*/ 226124 h 2064960"/>
                <a:gd name="csX393" fmla="*/ 9076658 w 10235564"/>
                <a:gd name="csY393" fmla="*/ 232029 h 2064960"/>
                <a:gd name="csX394" fmla="*/ 9118854 w 10235564"/>
                <a:gd name="csY394" fmla="*/ 253936 h 2064960"/>
                <a:gd name="csX395" fmla="*/ 9150382 w 10235564"/>
                <a:gd name="csY395" fmla="*/ 298799 h 2064960"/>
                <a:gd name="csX396" fmla="*/ 9162669 w 10235564"/>
                <a:gd name="csY396" fmla="*/ 373570 h 2064960"/>
                <a:gd name="csX397" fmla="*/ 9162669 w 10235564"/>
                <a:gd name="csY397" fmla="*/ 748379 h 2064960"/>
                <a:gd name="csX398" fmla="*/ 9156287 w 10235564"/>
                <a:gd name="csY398" fmla="*/ 754761 h 2064960"/>
                <a:gd name="csX399" fmla="*/ 9050560 w 10235564"/>
                <a:gd name="csY399" fmla="*/ 754761 h 2064960"/>
                <a:gd name="csX400" fmla="*/ 9358312 w 10235564"/>
                <a:gd name="csY400" fmla="*/ 754856 h 2064960"/>
                <a:gd name="csX401" fmla="*/ 9351931 w 10235564"/>
                <a:gd name="csY401" fmla="*/ 748474 h 2064960"/>
                <a:gd name="csX402" fmla="*/ 9351931 w 10235564"/>
                <a:gd name="csY402" fmla="*/ 326707 h 2064960"/>
                <a:gd name="csX403" fmla="*/ 9261157 w 10235564"/>
                <a:gd name="csY403" fmla="*/ 326707 h 2064960"/>
                <a:gd name="csX404" fmla="*/ 9254776 w 10235564"/>
                <a:gd name="csY404" fmla="*/ 320326 h 2064960"/>
                <a:gd name="csX405" fmla="*/ 9254776 w 10235564"/>
                <a:gd name="csY405" fmla="*/ 250889 h 2064960"/>
                <a:gd name="csX406" fmla="*/ 9261157 w 10235564"/>
                <a:gd name="csY406" fmla="*/ 244507 h 2064960"/>
                <a:gd name="csX407" fmla="*/ 9464135 w 10235564"/>
                <a:gd name="csY407" fmla="*/ 244507 h 2064960"/>
                <a:gd name="csX408" fmla="*/ 9470517 w 10235564"/>
                <a:gd name="csY408" fmla="*/ 250889 h 2064960"/>
                <a:gd name="csX409" fmla="*/ 9470517 w 10235564"/>
                <a:gd name="csY409" fmla="*/ 748474 h 2064960"/>
                <a:gd name="csX410" fmla="*/ 9464135 w 10235564"/>
                <a:gd name="csY410" fmla="*/ 754856 h 2064960"/>
                <a:gd name="csX411" fmla="*/ 9358408 w 10235564"/>
                <a:gd name="csY411" fmla="*/ 754856 h 2064960"/>
                <a:gd name="csX412" fmla="*/ 9545288 w 10235564"/>
                <a:gd name="csY412" fmla="*/ 93345 h 2064960"/>
                <a:gd name="csX413" fmla="*/ 9539954 w 10235564"/>
                <a:gd name="csY413" fmla="*/ 96012 h 2064960"/>
                <a:gd name="csX414" fmla="*/ 9351931 w 10235564"/>
                <a:gd name="csY414" fmla="*/ 170783 h 2064960"/>
                <a:gd name="csX415" fmla="*/ 9346597 w 10235564"/>
                <a:gd name="csY415" fmla="*/ 172879 h 2064960"/>
                <a:gd name="csX416" fmla="*/ 9340215 w 10235564"/>
                <a:gd name="csY416" fmla="*/ 173927 h 2064960"/>
                <a:gd name="csX417" fmla="*/ 9336500 w 10235564"/>
                <a:gd name="csY417" fmla="*/ 170688 h 2064960"/>
                <a:gd name="csX418" fmla="*/ 9333833 w 10235564"/>
                <a:gd name="csY418" fmla="*/ 163258 h 2064960"/>
                <a:gd name="csX419" fmla="*/ 9316784 w 10235564"/>
                <a:gd name="csY419" fmla="*/ 129064 h 2064960"/>
                <a:gd name="csX420" fmla="*/ 9314116 w 10235564"/>
                <a:gd name="csY420" fmla="*/ 123730 h 2064960"/>
                <a:gd name="csX421" fmla="*/ 9312497 w 10235564"/>
                <a:gd name="csY421" fmla="*/ 118396 h 2064960"/>
                <a:gd name="csX422" fmla="*/ 9315164 w 10235564"/>
                <a:gd name="csY422" fmla="*/ 114110 h 2064960"/>
                <a:gd name="csX423" fmla="*/ 9322118 w 10235564"/>
                <a:gd name="csY423" fmla="*/ 110871 h 2064960"/>
                <a:gd name="csX424" fmla="*/ 9496234 w 10235564"/>
                <a:gd name="csY424" fmla="*/ 8382 h 2064960"/>
                <a:gd name="csX425" fmla="*/ 9501568 w 10235564"/>
                <a:gd name="csY425" fmla="*/ 5144 h 2064960"/>
                <a:gd name="csX426" fmla="*/ 9506902 w 10235564"/>
                <a:gd name="csY426" fmla="*/ 3048 h 2064960"/>
                <a:gd name="csX427" fmla="*/ 9510141 w 10235564"/>
                <a:gd name="csY427" fmla="*/ 5144 h 2064960"/>
                <a:gd name="csX428" fmla="*/ 9511189 w 10235564"/>
                <a:gd name="csY428" fmla="*/ 8382 h 2064960"/>
                <a:gd name="csX429" fmla="*/ 9514427 w 10235564"/>
                <a:gd name="csY429" fmla="*/ 13716 h 2064960"/>
                <a:gd name="csX430" fmla="*/ 9547574 w 10235564"/>
                <a:gd name="csY430" fmla="*/ 78867 h 2064960"/>
                <a:gd name="csX431" fmla="*/ 9550241 w 10235564"/>
                <a:gd name="csY431" fmla="*/ 84201 h 2064960"/>
                <a:gd name="csX432" fmla="*/ 9551861 w 10235564"/>
                <a:gd name="csY432" fmla="*/ 89535 h 2064960"/>
                <a:gd name="csX433" fmla="*/ 9550813 w 10235564"/>
                <a:gd name="csY433" fmla="*/ 90583 h 2064960"/>
                <a:gd name="csX434" fmla="*/ 9545479 w 10235564"/>
                <a:gd name="csY434" fmla="*/ 93250 h 2064960"/>
                <a:gd name="csX435" fmla="*/ 9545479 w 10235564"/>
                <a:gd name="csY435" fmla="*/ 93250 h 2064960"/>
                <a:gd name="csX436" fmla="*/ 5899309 w 10235564"/>
                <a:gd name="csY436" fmla="*/ 1841564 h 2064960"/>
                <a:gd name="csX437" fmla="*/ 5818632 w 10235564"/>
                <a:gd name="csY437" fmla="*/ 1804225 h 2064960"/>
                <a:gd name="csX438" fmla="*/ 5814346 w 10235564"/>
                <a:gd name="csY438" fmla="*/ 1798892 h 2064960"/>
                <a:gd name="csX439" fmla="*/ 5814346 w 10235564"/>
                <a:gd name="csY439" fmla="*/ 1794129 h 2064960"/>
                <a:gd name="csX440" fmla="*/ 5816442 w 10235564"/>
                <a:gd name="csY440" fmla="*/ 1788224 h 2064960"/>
                <a:gd name="csX441" fmla="*/ 5818537 w 10235564"/>
                <a:gd name="csY441" fmla="*/ 1782890 h 2064960"/>
                <a:gd name="csX442" fmla="*/ 5839873 w 10235564"/>
                <a:gd name="csY442" fmla="*/ 1728407 h 2064960"/>
                <a:gd name="csX443" fmla="*/ 5844159 w 10235564"/>
                <a:gd name="csY443" fmla="*/ 1724120 h 2064960"/>
                <a:gd name="csX444" fmla="*/ 5848446 w 10235564"/>
                <a:gd name="csY444" fmla="*/ 1725168 h 2064960"/>
                <a:gd name="csX445" fmla="*/ 5869781 w 10235564"/>
                <a:gd name="csY445" fmla="*/ 1734217 h 2064960"/>
                <a:gd name="csX446" fmla="*/ 5892260 w 10235564"/>
                <a:gd name="csY446" fmla="*/ 1743266 h 2064960"/>
                <a:gd name="csX447" fmla="*/ 5940838 w 10235564"/>
                <a:gd name="csY447" fmla="*/ 1759839 h 2064960"/>
                <a:gd name="csX448" fmla="*/ 5994749 w 10235564"/>
                <a:gd name="csY448" fmla="*/ 1767840 h 2064960"/>
                <a:gd name="csX449" fmla="*/ 6045518 w 10235564"/>
                <a:gd name="csY449" fmla="*/ 1753933 h 2064960"/>
                <a:gd name="csX450" fmla="*/ 6068473 w 10235564"/>
                <a:gd name="csY450" fmla="*/ 1705927 h 2064960"/>
                <a:gd name="csX451" fmla="*/ 6048185 w 10235564"/>
                <a:gd name="csY451" fmla="*/ 1663256 h 2064960"/>
                <a:gd name="csX452" fmla="*/ 6002274 w 10235564"/>
                <a:gd name="csY452" fmla="*/ 1637633 h 2064960"/>
                <a:gd name="csX453" fmla="*/ 5944076 w 10235564"/>
                <a:gd name="csY453" fmla="*/ 1616774 h 2064960"/>
                <a:gd name="csX454" fmla="*/ 5889022 w 10235564"/>
                <a:gd name="csY454" fmla="*/ 1589532 h 2064960"/>
                <a:gd name="csX455" fmla="*/ 5848446 w 10235564"/>
                <a:gd name="csY455" fmla="*/ 1547908 h 2064960"/>
                <a:gd name="csX456" fmla="*/ 5830253 w 10235564"/>
                <a:gd name="csY456" fmla="*/ 1476375 h 2064960"/>
                <a:gd name="csX457" fmla="*/ 5843112 w 10235564"/>
                <a:gd name="csY457" fmla="*/ 1411796 h 2064960"/>
                <a:gd name="csX458" fmla="*/ 5878926 w 10235564"/>
                <a:gd name="csY458" fmla="*/ 1358932 h 2064960"/>
                <a:gd name="csX459" fmla="*/ 5935504 w 10235564"/>
                <a:gd name="csY459" fmla="*/ 1323689 h 2064960"/>
                <a:gd name="csX460" fmla="*/ 6010847 w 10235564"/>
                <a:gd name="csY460" fmla="*/ 1310831 h 2064960"/>
                <a:gd name="csX461" fmla="*/ 6100572 w 10235564"/>
                <a:gd name="csY461" fmla="*/ 1323118 h 2064960"/>
                <a:gd name="csX462" fmla="*/ 6165723 w 10235564"/>
                <a:gd name="csY462" fmla="*/ 1348168 h 2064960"/>
                <a:gd name="csX463" fmla="*/ 6167819 w 10235564"/>
                <a:gd name="csY463" fmla="*/ 1357789 h 2064960"/>
                <a:gd name="csX464" fmla="*/ 6166199 w 10235564"/>
                <a:gd name="csY464" fmla="*/ 1362075 h 2064960"/>
                <a:gd name="csX465" fmla="*/ 6164580 w 10235564"/>
                <a:gd name="csY465" fmla="*/ 1366361 h 2064960"/>
                <a:gd name="csX466" fmla="*/ 6150198 w 10235564"/>
                <a:gd name="csY466" fmla="*/ 1399984 h 2064960"/>
                <a:gd name="csX467" fmla="*/ 6140006 w 10235564"/>
                <a:gd name="csY467" fmla="*/ 1423988 h 2064960"/>
                <a:gd name="csX468" fmla="*/ 6136768 w 10235564"/>
                <a:gd name="csY468" fmla="*/ 1426083 h 2064960"/>
                <a:gd name="csX469" fmla="*/ 6135719 w 10235564"/>
                <a:gd name="csY469" fmla="*/ 1426083 h 2064960"/>
                <a:gd name="csX470" fmla="*/ 6133624 w 10235564"/>
                <a:gd name="csY470" fmla="*/ 1426083 h 2064960"/>
                <a:gd name="csX471" fmla="*/ 6131528 w 10235564"/>
                <a:gd name="csY471" fmla="*/ 1425035 h 2064960"/>
                <a:gd name="csX472" fmla="*/ 6074378 w 10235564"/>
                <a:gd name="csY472" fmla="*/ 1406842 h 2064960"/>
                <a:gd name="csX473" fmla="*/ 6015038 w 10235564"/>
                <a:gd name="csY473" fmla="*/ 1400461 h 2064960"/>
                <a:gd name="csX474" fmla="*/ 5959983 w 10235564"/>
                <a:gd name="csY474" fmla="*/ 1413796 h 2064960"/>
                <a:gd name="csX475" fmla="*/ 5935980 w 10235564"/>
                <a:gd name="csY475" fmla="*/ 1460278 h 2064960"/>
                <a:gd name="csX476" fmla="*/ 5955220 w 10235564"/>
                <a:gd name="csY476" fmla="*/ 1500854 h 2064960"/>
                <a:gd name="csX477" fmla="*/ 5999036 w 10235564"/>
                <a:gd name="csY477" fmla="*/ 1523238 h 2064960"/>
                <a:gd name="csX478" fmla="*/ 6025706 w 10235564"/>
                <a:gd name="csY478" fmla="*/ 1532858 h 2064960"/>
                <a:gd name="csX479" fmla="*/ 6054567 w 10235564"/>
                <a:gd name="csY479" fmla="*/ 1542479 h 2064960"/>
                <a:gd name="csX480" fmla="*/ 6083903 w 10235564"/>
                <a:gd name="csY480" fmla="*/ 1554766 h 2064960"/>
                <a:gd name="csX481" fmla="*/ 6112193 w 10235564"/>
                <a:gd name="csY481" fmla="*/ 1571339 h 2064960"/>
                <a:gd name="csX482" fmla="*/ 6160770 w 10235564"/>
                <a:gd name="csY482" fmla="*/ 1619917 h 2064960"/>
                <a:gd name="csX483" fmla="*/ 6179439 w 10235564"/>
                <a:gd name="csY483" fmla="*/ 1694117 h 2064960"/>
                <a:gd name="csX484" fmla="*/ 6167724 w 10235564"/>
                <a:gd name="csY484" fmla="*/ 1759267 h 2064960"/>
                <a:gd name="csX485" fmla="*/ 6133529 w 10235564"/>
                <a:gd name="csY485" fmla="*/ 1811083 h 2064960"/>
                <a:gd name="csX486" fmla="*/ 6078474 w 10235564"/>
                <a:gd name="csY486" fmla="*/ 1845278 h 2064960"/>
                <a:gd name="csX487" fmla="*/ 6005322 w 10235564"/>
                <a:gd name="csY487" fmla="*/ 1857566 h 2064960"/>
                <a:gd name="csX488" fmla="*/ 5899023 w 10235564"/>
                <a:gd name="csY488" fmla="*/ 1841564 h 2064960"/>
                <a:gd name="csX489" fmla="*/ 6489097 w 10235564"/>
                <a:gd name="csY489" fmla="*/ 1854899 h 2064960"/>
                <a:gd name="csX490" fmla="*/ 6460808 w 10235564"/>
                <a:gd name="csY490" fmla="*/ 1848993 h 2064960"/>
                <a:gd name="csX491" fmla="*/ 6438329 w 10235564"/>
                <a:gd name="csY491" fmla="*/ 1839373 h 2064960"/>
                <a:gd name="csX492" fmla="*/ 6427661 w 10235564"/>
                <a:gd name="csY492" fmla="*/ 1834610 h 2064960"/>
                <a:gd name="csX493" fmla="*/ 6408420 w 10235564"/>
                <a:gd name="csY493" fmla="*/ 1824418 h 2064960"/>
                <a:gd name="csX494" fmla="*/ 6408420 w 10235564"/>
                <a:gd name="csY494" fmla="*/ 2033683 h 2064960"/>
                <a:gd name="csX495" fmla="*/ 6406325 w 10235564"/>
                <a:gd name="csY495" fmla="*/ 2040636 h 2064960"/>
                <a:gd name="csX496" fmla="*/ 6394609 w 10235564"/>
                <a:gd name="csY496" fmla="*/ 2044351 h 2064960"/>
                <a:gd name="csX497" fmla="*/ 6305931 w 10235564"/>
                <a:gd name="csY497" fmla="*/ 2062543 h 2064960"/>
                <a:gd name="csX498" fmla="*/ 6298406 w 10235564"/>
                <a:gd name="csY498" fmla="*/ 2064639 h 2064960"/>
                <a:gd name="csX499" fmla="*/ 6292025 w 10235564"/>
                <a:gd name="csY499" fmla="*/ 2063591 h 2064960"/>
                <a:gd name="csX500" fmla="*/ 6289929 w 10235564"/>
                <a:gd name="csY500" fmla="*/ 2060353 h 2064960"/>
                <a:gd name="csX501" fmla="*/ 6289929 w 10235564"/>
                <a:gd name="csY501" fmla="*/ 1510379 h 2064960"/>
                <a:gd name="csX502" fmla="*/ 6286691 w 10235564"/>
                <a:gd name="csY502" fmla="*/ 1422845 h 2064960"/>
                <a:gd name="csX503" fmla="*/ 6279166 w 10235564"/>
                <a:gd name="csY503" fmla="*/ 1377982 h 2064960"/>
                <a:gd name="csX504" fmla="*/ 6275452 w 10235564"/>
                <a:gd name="csY504" fmla="*/ 1364647 h 2064960"/>
                <a:gd name="csX505" fmla="*/ 6271737 w 10235564"/>
                <a:gd name="csY505" fmla="*/ 1355598 h 2064960"/>
                <a:gd name="csX506" fmla="*/ 6270689 w 10235564"/>
                <a:gd name="csY506" fmla="*/ 1351883 h 2064960"/>
                <a:gd name="csX507" fmla="*/ 6269641 w 10235564"/>
                <a:gd name="csY507" fmla="*/ 1344930 h 2064960"/>
                <a:gd name="csX508" fmla="*/ 6274975 w 10235564"/>
                <a:gd name="csY508" fmla="*/ 1340644 h 2064960"/>
                <a:gd name="csX509" fmla="*/ 6356128 w 10235564"/>
                <a:gd name="csY509" fmla="*/ 1313974 h 2064960"/>
                <a:gd name="csX510" fmla="*/ 6366320 w 10235564"/>
                <a:gd name="csY510" fmla="*/ 1311307 h 2064960"/>
                <a:gd name="csX511" fmla="*/ 6373273 w 10235564"/>
                <a:gd name="csY511" fmla="*/ 1312926 h 2064960"/>
                <a:gd name="csX512" fmla="*/ 6384512 w 10235564"/>
                <a:gd name="csY512" fmla="*/ 1331595 h 2064960"/>
                <a:gd name="csX513" fmla="*/ 6398895 w 10235564"/>
                <a:gd name="csY513" fmla="*/ 1372743 h 2064960"/>
                <a:gd name="csX514" fmla="*/ 6456045 w 10235564"/>
                <a:gd name="csY514" fmla="*/ 1330547 h 2064960"/>
                <a:gd name="csX515" fmla="*/ 6539865 w 10235564"/>
                <a:gd name="csY515" fmla="*/ 1310831 h 2064960"/>
                <a:gd name="csX516" fmla="*/ 6669691 w 10235564"/>
                <a:gd name="csY516" fmla="*/ 1375410 h 2064960"/>
                <a:gd name="csX517" fmla="*/ 6716173 w 10235564"/>
                <a:gd name="csY517" fmla="*/ 1574578 h 2064960"/>
                <a:gd name="csX518" fmla="*/ 6671882 w 10235564"/>
                <a:gd name="csY518" fmla="*/ 1786033 h 2064960"/>
                <a:gd name="csX519" fmla="*/ 6528149 w 10235564"/>
                <a:gd name="csY519" fmla="*/ 1857566 h 2064960"/>
                <a:gd name="csX520" fmla="*/ 6489193 w 10235564"/>
                <a:gd name="csY520" fmla="*/ 1854899 h 2064960"/>
                <a:gd name="csX521" fmla="*/ 6460236 w 10235564"/>
                <a:gd name="csY521" fmla="*/ 1407985 h 2064960"/>
                <a:gd name="csX522" fmla="*/ 6424422 w 10235564"/>
                <a:gd name="csY522" fmla="*/ 1430369 h 2064960"/>
                <a:gd name="csX523" fmla="*/ 6408420 w 10235564"/>
                <a:gd name="csY523" fmla="*/ 1446371 h 2064960"/>
                <a:gd name="csX524" fmla="*/ 6408420 w 10235564"/>
                <a:gd name="csY524" fmla="*/ 1744313 h 2064960"/>
                <a:gd name="csX525" fmla="*/ 6444710 w 10235564"/>
                <a:gd name="csY525" fmla="*/ 1761363 h 2064960"/>
                <a:gd name="csX526" fmla="*/ 6494907 w 10235564"/>
                <a:gd name="csY526" fmla="*/ 1767745 h 2064960"/>
                <a:gd name="csX527" fmla="*/ 6546723 w 10235564"/>
                <a:gd name="csY527" fmla="*/ 1756029 h 2064960"/>
                <a:gd name="csX528" fmla="*/ 6577680 w 10235564"/>
                <a:gd name="csY528" fmla="*/ 1720787 h 2064960"/>
                <a:gd name="csX529" fmla="*/ 6593205 w 10235564"/>
                <a:gd name="csY529" fmla="*/ 1662017 h 2064960"/>
                <a:gd name="csX530" fmla="*/ 6597492 w 10235564"/>
                <a:gd name="csY530" fmla="*/ 1579817 h 2064960"/>
                <a:gd name="csX531" fmla="*/ 6593205 w 10235564"/>
                <a:gd name="csY531" fmla="*/ 1506093 h 2064960"/>
                <a:gd name="csX532" fmla="*/ 6578251 w 10235564"/>
                <a:gd name="csY532" fmla="*/ 1449515 h 2064960"/>
                <a:gd name="csX533" fmla="*/ 6549390 w 10235564"/>
                <a:gd name="csY533" fmla="*/ 1413224 h 2064960"/>
                <a:gd name="csX534" fmla="*/ 6502336 w 10235564"/>
                <a:gd name="csY534" fmla="*/ 1400366 h 2064960"/>
                <a:gd name="csX535" fmla="*/ 6460141 w 10235564"/>
                <a:gd name="csY535" fmla="*/ 1407795 h 2064960"/>
                <a:gd name="csX536" fmla="*/ 6942773 w 10235564"/>
                <a:gd name="csY536" fmla="*/ 1838325 h 2064960"/>
                <a:gd name="csX537" fmla="*/ 6872192 w 10235564"/>
                <a:gd name="csY537" fmla="*/ 1783842 h 2064960"/>
                <a:gd name="csX538" fmla="*/ 6827902 w 10235564"/>
                <a:gd name="csY538" fmla="*/ 1697831 h 2064960"/>
                <a:gd name="csX539" fmla="*/ 6812376 w 10235564"/>
                <a:gd name="csY539" fmla="*/ 1584103 h 2064960"/>
                <a:gd name="csX540" fmla="*/ 6827902 w 10235564"/>
                <a:gd name="csY540" fmla="*/ 1470374 h 2064960"/>
                <a:gd name="csX541" fmla="*/ 6872192 w 10235564"/>
                <a:gd name="csY541" fmla="*/ 1384364 h 2064960"/>
                <a:gd name="csX542" fmla="*/ 6942678 w 10235564"/>
                <a:gd name="csY542" fmla="*/ 1329881 h 2064960"/>
                <a:gd name="csX543" fmla="*/ 7035642 w 10235564"/>
                <a:gd name="csY543" fmla="*/ 1310640 h 2064960"/>
                <a:gd name="csX544" fmla="*/ 7128034 w 10235564"/>
                <a:gd name="csY544" fmla="*/ 1329881 h 2064960"/>
                <a:gd name="csX545" fmla="*/ 7198519 w 10235564"/>
                <a:gd name="csY545" fmla="*/ 1384364 h 2064960"/>
                <a:gd name="csX546" fmla="*/ 7243382 w 10235564"/>
                <a:gd name="csY546" fmla="*/ 1470374 h 2064960"/>
                <a:gd name="csX547" fmla="*/ 7258908 w 10235564"/>
                <a:gd name="csY547" fmla="*/ 1584103 h 2064960"/>
                <a:gd name="csX548" fmla="*/ 7243382 w 10235564"/>
                <a:gd name="csY548" fmla="*/ 1697831 h 2064960"/>
                <a:gd name="csX549" fmla="*/ 7199090 w 10235564"/>
                <a:gd name="csY549" fmla="*/ 1783842 h 2064960"/>
                <a:gd name="csX550" fmla="*/ 7128605 w 10235564"/>
                <a:gd name="csY550" fmla="*/ 1838325 h 2064960"/>
                <a:gd name="csX551" fmla="*/ 7035642 w 10235564"/>
                <a:gd name="csY551" fmla="*/ 1857566 h 2064960"/>
                <a:gd name="csX552" fmla="*/ 6942678 w 10235564"/>
                <a:gd name="csY552" fmla="*/ 1838325 h 2064960"/>
                <a:gd name="csX553" fmla="*/ 6985445 w 10235564"/>
                <a:gd name="csY553" fmla="*/ 1415415 h 2064960"/>
                <a:gd name="csX554" fmla="*/ 6956108 w 10235564"/>
                <a:gd name="csY554" fmla="*/ 1455992 h 2064960"/>
                <a:gd name="csX555" fmla="*/ 6942773 w 10235564"/>
                <a:gd name="csY555" fmla="*/ 1514761 h 2064960"/>
                <a:gd name="csX556" fmla="*/ 6939534 w 10235564"/>
                <a:gd name="csY556" fmla="*/ 1584198 h 2064960"/>
                <a:gd name="csX557" fmla="*/ 6942773 w 10235564"/>
                <a:gd name="csY557" fmla="*/ 1653635 h 2064960"/>
                <a:gd name="csX558" fmla="*/ 6956108 w 10235564"/>
                <a:gd name="csY558" fmla="*/ 1712405 h 2064960"/>
                <a:gd name="csX559" fmla="*/ 6984969 w 10235564"/>
                <a:gd name="csY559" fmla="*/ 1752981 h 2064960"/>
                <a:gd name="csX560" fmla="*/ 7035736 w 10235564"/>
                <a:gd name="csY560" fmla="*/ 1767935 h 2064960"/>
                <a:gd name="csX561" fmla="*/ 7086505 w 10235564"/>
                <a:gd name="csY561" fmla="*/ 1752981 h 2064960"/>
                <a:gd name="csX562" fmla="*/ 7115366 w 10235564"/>
                <a:gd name="csY562" fmla="*/ 1712405 h 2064960"/>
                <a:gd name="csX563" fmla="*/ 7128701 w 10235564"/>
                <a:gd name="csY563" fmla="*/ 1653635 h 2064960"/>
                <a:gd name="csX564" fmla="*/ 7131939 w 10235564"/>
                <a:gd name="csY564" fmla="*/ 1584198 h 2064960"/>
                <a:gd name="csX565" fmla="*/ 7128701 w 10235564"/>
                <a:gd name="csY565" fmla="*/ 1514761 h 2064960"/>
                <a:gd name="csX566" fmla="*/ 7115366 w 10235564"/>
                <a:gd name="csY566" fmla="*/ 1455992 h 2064960"/>
                <a:gd name="csX567" fmla="*/ 7086029 w 10235564"/>
                <a:gd name="csY567" fmla="*/ 1415415 h 2064960"/>
                <a:gd name="csX568" fmla="*/ 7035832 w 10235564"/>
                <a:gd name="csY568" fmla="*/ 1400461 h 2064960"/>
                <a:gd name="csX569" fmla="*/ 6985635 w 10235564"/>
                <a:gd name="csY569" fmla="*/ 1415415 h 2064960"/>
                <a:gd name="csX570" fmla="*/ 7637812 w 10235564"/>
                <a:gd name="csY570" fmla="*/ 1423988 h 2064960"/>
                <a:gd name="csX571" fmla="*/ 7636764 w 10235564"/>
                <a:gd name="csY571" fmla="*/ 1426083 h 2064960"/>
                <a:gd name="csX572" fmla="*/ 7635717 w 10235564"/>
                <a:gd name="csY572" fmla="*/ 1427131 h 2064960"/>
                <a:gd name="csX573" fmla="*/ 7633621 w 10235564"/>
                <a:gd name="csY573" fmla="*/ 1427131 h 2064960"/>
                <a:gd name="csX574" fmla="*/ 7628858 w 10235564"/>
                <a:gd name="csY574" fmla="*/ 1425035 h 2064960"/>
                <a:gd name="csX575" fmla="*/ 7621905 w 10235564"/>
                <a:gd name="csY575" fmla="*/ 1422940 h 2064960"/>
                <a:gd name="csX576" fmla="*/ 7606951 w 10235564"/>
                <a:gd name="csY576" fmla="*/ 1418654 h 2064960"/>
                <a:gd name="csX577" fmla="*/ 7587710 w 10235564"/>
                <a:gd name="csY577" fmla="*/ 1416558 h 2064960"/>
                <a:gd name="csX578" fmla="*/ 7561517 w 10235564"/>
                <a:gd name="csY578" fmla="*/ 1422940 h 2064960"/>
                <a:gd name="csX579" fmla="*/ 7535894 w 10235564"/>
                <a:gd name="csY579" fmla="*/ 1437894 h 2064960"/>
                <a:gd name="csX580" fmla="*/ 7513987 w 10235564"/>
                <a:gd name="csY580" fmla="*/ 1456563 h 2064960"/>
                <a:gd name="csX581" fmla="*/ 7497985 w 10235564"/>
                <a:gd name="csY581" fmla="*/ 1473137 h 2064960"/>
                <a:gd name="csX582" fmla="*/ 7497985 w 10235564"/>
                <a:gd name="csY582" fmla="*/ 1832991 h 2064960"/>
                <a:gd name="csX583" fmla="*/ 7491603 w 10235564"/>
                <a:gd name="csY583" fmla="*/ 1839373 h 2064960"/>
                <a:gd name="csX584" fmla="*/ 7385876 w 10235564"/>
                <a:gd name="csY584" fmla="*/ 1839373 h 2064960"/>
                <a:gd name="csX585" fmla="*/ 7379494 w 10235564"/>
                <a:gd name="csY585" fmla="*/ 1832991 h 2064960"/>
                <a:gd name="csX586" fmla="*/ 7379494 w 10235564"/>
                <a:gd name="csY586" fmla="*/ 1510475 h 2064960"/>
                <a:gd name="csX587" fmla="*/ 7375208 w 10235564"/>
                <a:gd name="csY587" fmla="*/ 1438370 h 2064960"/>
                <a:gd name="csX588" fmla="*/ 7365587 w 10235564"/>
                <a:gd name="csY588" fmla="*/ 1393031 h 2064960"/>
                <a:gd name="csX589" fmla="*/ 7360825 w 10235564"/>
                <a:gd name="csY589" fmla="*/ 1377506 h 2064960"/>
                <a:gd name="csX590" fmla="*/ 7356062 w 10235564"/>
                <a:gd name="csY590" fmla="*/ 1365218 h 2064960"/>
                <a:gd name="csX591" fmla="*/ 7351777 w 10235564"/>
                <a:gd name="csY591" fmla="*/ 1351312 h 2064960"/>
                <a:gd name="csX592" fmla="*/ 7356062 w 10235564"/>
                <a:gd name="csY592" fmla="*/ 1347025 h 2064960"/>
                <a:gd name="csX593" fmla="*/ 7436168 w 10235564"/>
                <a:gd name="csY593" fmla="*/ 1315022 h 2064960"/>
                <a:gd name="csX594" fmla="*/ 7439883 w 10235564"/>
                <a:gd name="csY594" fmla="*/ 1313402 h 2064960"/>
                <a:gd name="csX595" fmla="*/ 7443597 w 10235564"/>
                <a:gd name="csY595" fmla="*/ 1311783 h 2064960"/>
                <a:gd name="csX596" fmla="*/ 7451122 w 10235564"/>
                <a:gd name="csY596" fmla="*/ 1313879 h 2064960"/>
                <a:gd name="csX597" fmla="*/ 7466648 w 10235564"/>
                <a:gd name="csY597" fmla="*/ 1343787 h 2064960"/>
                <a:gd name="csX598" fmla="*/ 7482174 w 10235564"/>
                <a:gd name="csY598" fmla="*/ 1406747 h 2064960"/>
                <a:gd name="csX599" fmla="*/ 7501414 w 10235564"/>
                <a:gd name="csY599" fmla="*/ 1383221 h 2064960"/>
                <a:gd name="csX600" fmla="*/ 7513130 w 10235564"/>
                <a:gd name="csY600" fmla="*/ 1368266 h 2064960"/>
                <a:gd name="csX601" fmla="*/ 7560183 w 10235564"/>
                <a:gd name="csY601" fmla="*/ 1327118 h 2064960"/>
                <a:gd name="csX602" fmla="*/ 7620000 w 10235564"/>
                <a:gd name="csY602" fmla="*/ 1310545 h 2064960"/>
                <a:gd name="csX603" fmla="*/ 7652004 w 10235564"/>
                <a:gd name="csY603" fmla="*/ 1315307 h 2064960"/>
                <a:gd name="csX604" fmla="*/ 7670197 w 10235564"/>
                <a:gd name="csY604" fmla="*/ 1325499 h 2064960"/>
                <a:gd name="csX605" fmla="*/ 7670197 w 10235564"/>
                <a:gd name="csY605" fmla="*/ 1338358 h 2064960"/>
                <a:gd name="csX606" fmla="*/ 7638193 w 10235564"/>
                <a:gd name="csY606" fmla="*/ 1423797 h 2064960"/>
                <a:gd name="csX607" fmla="*/ 7638193 w 10235564"/>
                <a:gd name="csY607" fmla="*/ 1423797 h 2064960"/>
                <a:gd name="csX608" fmla="*/ 7654385 w 10235564"/>
                <a:gd name="csY608" fmla="*/ 1153858 h 2064960"/>
                <a:gd name="csX609" fmla="*/ 7650670 w 10235564"/>
                <a:gd name="csY609" fmla="*/ 1157097 h 2064960"/>
                <a:gd name="csX610" fmla="*/ 7529989 w 10235564"/>
                <a:gd name="csY610" fmla="*/ 1252157 h 2064960"/>
                <a:gd name="csX611" fmla="*/ 7525226 w 10235564"/>
                <a:gd name="csY611" fmla="*/ 1255871 h 2064960"/>
                <a:gd name="csX612" fmla="*/ 7520464 w 10235564"/>
                <a:gd name="csY612" fmla="*/ 1258538 h 2064960"/>
                <a:gd name="csX613" fmla="*/ 7515130 w 10235564"/>
                <a:gd name="csY613" fmla="*/ 1255871 h 2064960"/>
                <a:gd name="csX614" fmla="*/ 7510844 w 10235564"/>
                <a:gd name="csY614" fmla="*/ 1252157 h 2064960"/>
                <a:gd name="csX615" fmla="*/ 7390162 w 10235564"/>
                <a:gd name="csY615" fmla="*/ 1157097 h 2064960"/>
                <a:gd name="csX616" fmla="*/ 7386447 w 10235564"/>
                <a:gd name="csY616" fmla="*/ 1153858 h 2064960"/>
                <a:gd name="csX617" fmla="*/ 7380542 w 10235564"/>
                <a:gd name="csY617" fmla="*/ 1148525 h 2064960"/>
                <a:gd name="csX618" fmla="*/ 7382637 w 10235564"/>
                <a:gd name="csY618" fmla="*/ 1143191 h 2064960"/>
                <a:gd name="csX619" fmla="*/ 7385876 w 10235564"/>
                <a:gd name="csY619" fmla="*/ 1137857 h 2064960"/>
                <a:gd name="csX620" fmla="*/ 7406164 w 10235564"/>
                <a:gd name="csY620" fmla="*/ 1103662 h 2064960"/>
                <a:gd name="csX621" fmla="*/ 7413689 w 10235564"/>
                <a:gd name="csY621" fmla="*/ 1094042 h 2064960"/>
                <a:gd name="csX622" fmla="*/ 7419023 w 10235564"/>
                <a:gd name="csY622" fmla="*/ 1096137 h 2064960"/>
                <a:gd name="csX623" fmla="*/ 7424357 w 10235564"/>
                <a:gd name="csY623" fmla="*/ 1099375 h 2064960"/>
                <a:gd name="csX624" fmla="*/ 7520464 w 10235564"/>
                <a:gd name="csY624" fmla="*/ 1153858 h 2064960"/>
                <a:gd name="csX625" fmla="*/ 7616571 w 10235564"/>
                <a:gd name="csY625" fmla="*/ 1099375 h 2064960"/>
                <a:gd name="csX626" fmla="*/ 7621905 w 10235564"/>
                <a:gd name="csY626" fmla="*/ 1096137 h 2064960"/>
                <a:gd name="csX627" fmla="*/ 7627239 w 10235564"/>
                <a:gd name="csY627" fmla="*/ 1094042 h 2064960"/>
                <a:gd name="csX628" fmla="*/ 7634764 w 10235564"/>
                <a:gd name="csY628" fmla="*/ 1103662 h 2064960"/>
                <a:gd name="csX629" fmla="*/ 7655052 w 10235564"/>
                <a:gd name="csY629" fmla="*/ 1137857 h 2064960"/>
                <a:gd name="csX630" fmla="*/ 7658291 w 10235564"/>
                <a:gd name="csY630" fmla="*/ 1143191 h 2064960"/>
                <a:gd name="csX631" fmla="*/ 7660386 w 10235564"/>
                <a:gd name="csY631" fmla="*/ 1148525 h 2064960"/>
                <a:gd name="csX632" fmla="*/ 7658291 w 10235564"/>
                <a:gd name="csY632" fmla="*/ 1150620 h 2064960"/>
                <a:gd name="csX633" fmla="*/ 7654576 w 10235564"/>
                <a:gd name="csY633" fmla="*/ 1153858 h 2064960"/>
                <a:gd name="csX634" fmla="*/ 7654576 w 10235564"/>
                <a:gd name="csY634" fmla="*/ 1153858 h 2064960"/>
                <a:gd name="csX635" fmla="*/ 7834408 w 10235564"/>
                <a:gd name="csY635" fmla="*/ 1839373 h 2064960"/>
                <a:gd name="csX636" fmla="*/ 7828027 w 10235564"/>
                <a:gd name="csY636" fmla="*/ 1832991 h 2064960"/>
                <a:gd name="csX637" fmla="*/ 7828027 w 10235564"/>
                <a:gd name="csY637" fmla="*/ 1411224 h 2064960"/>
                <a:gd name="csX638" fmla="*/ 7737253 w 10235564"/>
                <a:gd name="csY638" fmla="*/ 1411224 h 2064960"/>
                <a:gd name="csX639" fmla="*/ 7730871 w 10235564"/>
                <a:gd name="csY639" fmla="*/ 1404842 h 2064960"/>
                <a:gd name="csX640" fmla="*/ 7730871 w 10235564"/>
                <a:gd name="csY640" fmla="*/ 1335405 h 2064960"/>
                <a:gd name="csX641" fmla="*/ 7737253 w 10235564"/>
                <a:gd name="csY641" fmla="*/ 1329023 h 2064960"/>
                <a:gd name="csX642" fmla="*/ 7940231 w 10235564"/>
                <a:gd name="csY642" fmla="*/ 1329023 h 2064960"/>
                <a:gd name="csX643" fmla="*/ 7946612 w 10235564"/>
                <a:gd name="csY643" fmla="*/ 1335405 h 2064960"/>
                <a:gd name="csX644" fmla="*/ 7946612 w 10235564"/>
                <a:gd name="csY644" fmla="*/ 1832991 h 2064960"/>
                <a:gd name="csX645" fmla="*/ 7940231 w 10235564"/>
                <a:gd name="csY645" fmla="*/ 1839373 h 2064960"/>
                <a:gd name="csX646" fmla="*/ 7834503 w 10235564"/>
                <a:gd name="csY646" fmla="*/ 1839373 h 2064960"/>
                <a:gd name="csX647" fmla="*/ 7829550 w 10235564"/>
                <a:gd name="csY647" fmla="*/ 1219486 h 2064960"/>
                <a:gd name="csX648" fmla="*/ 7806595 w 10235564"/>
                <a:gd name="csY648" fmla="*/ 1162336 h 2064960"/>
                <a:gd name="csX649" fmla="*/ 7829550 w 10235564"/>
                <a:gd name="csY649" fmla="*/ 1106233 h 2064960"/>
                <a:gd name="csX650" fmla="*/ 7886700 w 10235564"/>
                <a:gd name="csY650" fmla="*/ 1083278 h 2064960"/>
                <a:gd name="csX651" fmla="*/ 7942803 w 10235564"/>
                <a:gd name="csY651" fmla="*/ 1105662 h 2064960"/>
                <a:gd name="csX652" fmla="*/ 7965758 w 10235564"/>
                <a:gd name="csY652" fmla="*/ 1162241 h 2064960"/>
                <a:gd name="csX653" fmla="*/ 7942803 w 10235564"/>
                <a:gd name="csY653" fmla="*/ 1219391 h 2064960"/>
                <a:gd name="csX654" fmla="*/ 7886700 w 10235564"/>
                <a:gd name="csY654" fmla="*/ 1242346 h 2064960"/>
                <a:gd name="csX655" fmla="*/ 7829550 w 10235564"/>
                <a:gd name="csY655" fmla="*/ 1219391 h 2064960"/>
                <a:gd name="csX656" fmla="*/ 7829550 w 10235564"/>
                <a:gd name="csY656" fmla="*/ 1219391 h 2064960"/>
                <a:gd name="csX657" fmla="*/ 8189405 w 10235564"/>
                <a:gd name="csY657" fmla="*/ 1840992 h 2064960"/>
                <a:gd name="csX658" fmla="*/ 8150924 w 10235564"/>
                <a:gd name="csY658" fmla="*/ 1796701 h 2064960"/>
                <a:gd name="csX659" fmla="*/ 8136541 w 10235564"/>
                <a:gd name="csY659" fmla="*/ 1733169 h 2064960"/>
                <a:gd name="csX660" fmla="*/ 8134446 w 10235564"/>
                <a:gd name="csY660" fmla="*/ 1660017 h 2064960"/>
                <a:gd name="csX661" fmla="*/ 8134446 w 10235564"/>
                <a:gd name="csY661" fmla="*/ 1411224 h 2064960"/>
                <a:gd name="csX662" fmla="*/ 8050054 w 10235564"/>
                <a:gd name="csY662" fmla="*/ 1411224 h 2064960"/>
                <a:gd name="csX663" fmla="*/ 8043672 w 10235564"/>
                <a:gd name="csY663" fmla="*/ 1404842 h 2064960"/>
                <a:gd name="csX664" fmla="*/ 8043672 w 10235564"/>
                <a:gd name="csY664" fmla="*/ 1335405 h 2064960"/>
                <a:gd name="csX665" fmla="*/ 8050054 w 10235564"/>
                <a:gd name="csY665" fmla="*/ 1329023 h 2064960"/>
                <a:gd name="csX666" fmla="*/ 8134446 w 10235564"/>
                <a:gd name="csY666" fmla="*/ 1329023 h 2064960"/>
                <a:gd name="csX667" fmla="*/ 8134446 w 10235564"/>
                <a:gd name="csY667" fmla="*/ 1185958 h 2064960"/>
                <a:gd name="csX668" fmla="*/ 8136065 w 10235564"/>
                <a:gd name="csY668" fmla="*/ 1178433 h 2064960"/>
                <a:gd name="csX669" fmla="*/ 8144066 w 10235564"/>
                <a:gd name="csY669" fmla="*/ 1175195 h 2064960"/>
                <a:gd name="csX670" fmla="*/ 8238078 w 10235564"/>
                <a:gd name="csY670" fmla="*/ 1162336 h 2064960"/>
                <a:gd name="csX671" fmla="*/ 8244459 w 10235564"/>
                <a:gd name="csY671" fmla="*/ 1161288 h 2064960"/>
                <a:gd name="csX672" fmla="*/ 8250841 w 10235564"/>
                <a:gd name="csY672" fmla="*/ 1162336 h 2064960"/>
                <a:gd name="csX673" fmla="*/ 8252937 w 10235564"/>
                <a:gd name="csY673" fmla="*/ 1171956 h 2064960"/>
                <a:gd name="csX674" fmla="*/ 8252937 w 10235564"/>
                <a:gd name="csY674" fmla="*/ 1328928 h 2064960"/>
                <a:gd name="csX675" fmla="*/ 8389715 w 10235564"/>
                <a:gd name="csY675" fmla="*/ 1328928 h 2064960"/>
                <a:gd name="csX676" fmla="*/ 8392954 w 10235564"/>
                <a:gd name="csY676" fmla="*/ 1333214 h 2064960"/>
                <a:gd name="csX677" fmla="*/ 8391906 w 10235564"/>
                <a:gd name="csY677" fmla="*/ 1338548 h 2064960"/>
                <a:gd name="csX678" fmla="*/ 8378000 w 10235564"/>
                <a:gd name="csY678" fmla="*/ 1401508 h 2064960"/>
                <a:gd name="csX679" fmla="*/ 8374285 w 10235564"/>
                <a:gd name="csY679" fmla="*/ 1409509 h 2064960"/>
                <a:gd name="csX680" fmla="*/ 8367332 w 10235564"/>
                <a:gd name="csY680" fmla="*/ 1411129 h 2064960"/>
                <a:gd name="csX681" fmla="*/ 8253032 w 10235564"/>
                <a:gd name="csY681" fmla="*/ 1411129 h 2064960"/>
                <a:gd name="csX682" fmla="*/ 8253032 w 10235564"/>
                <a:gd name="csY682" fmla="*/ 1678115 h 2064960"/>
                <a:gd name="csX683" fmla="*/ 8259985 w 10235564"/>
                <a:gd name="csY683" fmla="*/ 1729931 h 2064960"/>
                <a:gd name="csX684" fmla="*/ 8297894 w 10235564"/>
                <a:gd name="csY684" fmla="*/ 1751838 h 2064960"/>
                <a:gd name="csX685" fmla="*/ 8328851 w 10235564"/>
                <a:gd name="csY685" fmla="*/ 1748600 h 2064960"/>
                <a:gd name="csX686" fmla="*/ 8353425 w 10235564"/>
                <a:gd name="csY686" fmla="*/ 1741170 h 2064960"/>
                <a:gd name="csX687" fmla="*/ 8362474 w 10235564"/>
                <a:gd name="csY687" fmla="*/ 1737932 h 2064960"/>
                <a:gd name="csX688" fmla="*/ 8370475 w 10235564"/>
                <a:gd name="csY688" fmla="*/ 1734693 h 2064960"/>
                <a:gd name="csX689" fmla="*/ 8380095 w 10235564"/>
                <a:gd name="csY689" fmla="*/ 1734693 h 2064960"/>
                <a:gd name="csX690" fmla="*/ 8383334 w 10235564"/>
                <a:gd name="csY690" fmla="*/ 1738979 h 2064960"/>
                <a:gd name="csX691" fmla="*/ 8403622 w 10235564"/>
                <a:gd name="csY691" fmla="*/ 1819084 h 2064960"/>
                <a:gd name="csX692" fmla="*/ 8402574 w 10235564"/>
                <a:gd name="csY692" fmla="*/ 1826514 h 2064960"/>
                <a:gd name="csX693" fmla="*/ 8352854 w 10235564"/>
                <a:gd name="csY693" fmla="*/ 1848422 h 2064960"/>
                <a:gd name="csX694" fmla="*/ 8263605 w 10235564"/>
                <a:gd name="csY694" fmla="*/ 1857470 h 2064960"/>
                <a:gd name="csX695" fmla="*/ 8189310 w 10235564"/>
                <a:gd name="csY695" fmla="*/ 1840897 h 2064960"/>
                <a:gd name="csX696" fmla="*/ 8573929 w 10235564"/>
                <a:gd name="csY696" fmla="*/ 1611916 h 2064960"/>
                <a:gd name="csX697" fmla="*/ 8578215 w 10235564"/>
                <a:gd name="csY697" fmla="*/ 1664780 h 2064960"/>
                <a:gd name="csX698" fmla="*/ 8596408 w 10235564"/>
                <a:gd name="csY698" fmla="*/ 1713357 h 2064960"/>
                <a:gd name="csX699" fmla="*/ 8634889 w 10235564"/>
                <a:gd name="csY699" fmla="*/ 1748600 h 2064960"/>
                <a:gd name="csX700" fmla="*/ 8700040 w 10235564"/>
                <a:gd name="csY700" fmla="*/ 1762506 h 2064960"/>
                <a:gd name="csX701" fmla="*/ 8753475 w 10235564"/>
                <a:gd name="csY701" fmla="*/ 1756600 h 2064960"/>
                <a:gd name="csX702" fmla="*/ 8794052 w 10235564"/>
                <a:gd name="csY702" fmla="*/ 1744313 h 2064960"/>
                <a:gd name="csX703" fmla="*/ 8822912 w 10235564"/>
                <a:gd name="csY703" fmla="*/ 1731455 h 2064960"/>
                <a:gd name="csX704" fmla="*/ 8829866 w 10235564"/>
                <a:gd name="csY704" fmla="*/ 1728216 h 2064960"/>
                <a:gd name="csX705" fmla="*/ 8834628 w 10235564"/>
                <a:gd name="csY705" fmla="*/ 1727168 h 2064960"/>
                <a:gd name="csX706" fmla="*/ 8839962 w 10235564"/>
                <a:gd name="csY706" fmla="*/ 1731455 h 2064960"/>
                <a:gd name="csX707" fmla="*/ 8868823 w 10235564"/>
                <a:gd name="csY707" fmla="*/ 1796606 h 2064960"/>
                <a:gd name="csX708" fmla="*/ 8867775 w 10235564"/>
                <a:gd name="csY708" fmla="*/ 1806226 h 2064960"/>
                <a:gd name="csX709" fmla="*/ 8842629 w 10235564"/>
                <a:gd name="csY709" fmla="*/ 1822799 h 2064960"/>
                <a:gd name="csX710" fmla="*/ 8799862 w 10235564"/>
                <a:gd name="csY710" fmla="*/ 1839849 h 2064960"/>
                <a:gd name="csX711" fmla="*/ 8745379 w 10235564"/>
                <a:gd name="csY711" fmla="*/ 1852708 h 2064960"/>
                <a:gd name="csX712" fmla="*/ 8686038 w 10235564"/>
                <a:gd name="csY712" fmla="*/ 1857470 h 2064960"/>
                <a:gd name="csX713" fmla="*/ 8592598 w 10235564"/>
                <a:gd name="csY713" fmla="*/ 1842516 h 2064960"/>
                <a:gd name="csX714" fmla="*/ 8519922 w 10235564"/>
                <a:gd name="csY714" fmla="*/ 1795558 h 2064960"/>
                <a:gd name="csX715" fmla="*/ 8472392 w 10235564"/>
                <a:gd name="csY715" fmla="*/ 1712309 h 2064960"/>
                <a:gd name="csX716" fmla="*/ 8455343 w 10235564"/>
                <a:gd name="csY716" fmla="*/ 1589532 h 2064960"/>
                <a:gd name="csX717" fmla="*/ 8471345 w 10235564"/>
                <a:gd name="csY717" fmla="*/ 1475232 h 2064960"/>
                <a:gd name="csX718" fmla="*/ 8516779 w 10235564"/>
                <a:gd name="csY718" fmla="*/ 1387697 h 2064960"/>
                <a:gd name="csX719" fmla="*/ 8587835 w 10235564"/>
                <a:gd name="csY719" fmla="*/ 1331119 h 2064960"/>
                <a:gd name="csX720" fmla="*/ 8680799 w 10235564"/>
                <a:gd name="csY720" fmla="*/ 1310831 h 2064960"/>
                <a:gd name="csX721" fmla="*/ 8786050 w 10235564"/>
                <a:gd name="csY721" fmla="*/ 1336453 h 2064960"/>
                <a:gd name="csX722" fmla="*/ 8848534 w 10235564"/>
                <a:gd name="csY722" fmla="*/ 1403223 h 2064960"/>
                <a:gd name="csX723" fmla="*/ 8878443 w 10235564"/>
                <a:gd name="csY723" fmla="*/ 1494568 h 2064960"/>
                <a:gd name="csX724" fmla="*/ 8885967 w 10235564"/>
                <a:gd name="csY724" fmla="*/ 1593914 h 2064960"/>
                <a:gd name="csX725" fmla="*/ 8883872 w 10235564"/>
                <a:gd name="csY725" fmla="*/ 1609439 h 2064960"/>
                <a:gd name="csX726" fmla="*/ 8869966 w 10235564"/>
                <a:gd name="csY726" fmla="*/ 1612106 h 2064960"/>
                <a:gd name="csX727" fmla="*/ 8574024 w 10235564"/>
                <a:gd name="csY727" fmla="*/ 1612106 h 2064960"/>
                <a:gd name="csX728" fmla="*/ 8619267 w 10235564"/>
                <a:gd name="csY728" fmla="*/ 1409033 h 2064960"/>
                <a:gd name="csX729" fmla="*/ 8589931 w 10235564"/>
                <a:gd name="csY729" fmla="*/ 1446371 h 2064960"/>
                <a:gd name="csX730" fmla="*/ 8578215 w 10235564"/>
                <a:gd name="csY730" fmla="*/ 1487519 h 2064960"/>
                <a:gd name="csX731" fmla="*/ 8572881 w 10235564"/>
                <a:gd name="csY731" fmla="*/ 1529715 h 2064960"/>
                <a:gd name="csX732" fmla="*/ 8758809 w 10235564"/>
                <a:gd name="csY732" fmla="*/ 1529715 h 2064960"/>
                <a:gd name="csX733" fmla="*/ 8756714 w 10235564"/>
                <a:gd name="csY733" fmla="*/ 1484852 h 2064960"/>
                <a:gd name="csX734" fmla="*/ 8746045 w 10235564"/>
                <a:gd name="csY734" fmla="*/ 1440561 h 2064960"/>
                <a:gd name="csX735" fmla="*/ 8720424 w 10235564"/>
                <a:gd name="csY735" fmla="*/ 1406366 h 2064960"/>
                <a:gd name="csX736" fmla="*/ 8673370 w 10235564"/>
                <a:gd name="csY736" fmla="*/ 1393031 h 2064960"/>
                <a:gd name="csX737" fmla="*/ 8619458 w 10235564"/>
                <a:gd name="csY737" fmla="*/ 1409033 h 2064960"/>
                <a:gd name="csX738" fmla="*/ 8619458 w 10235564"/>
                <a:gd name="csY738" fmla="*/ 1409033 h 2064960"/>
                <a:gd name="csX739" fmla="*/ 9048559 w 10235564"/>
                <a:gd name="csY739" fmla="*/ 1840992 h 2064960"/>
                <a:gd name="csX740" fmla="*/ 9012269 w 10235564"/>
                <a:gd name="csY740" fmla="*/ 1796701 h 2064960"/>
                <a:gd name="csX741" fmla="*/ 8998363 w 10235564"/>
                <a:gd name="csY741" fmla="*/ 1733169 h 2064960"/>
                <a:gd name="csX742" fmla="*/ 8996267 w 10235564"/>
                <a:gd name="csY742" fmla="*/ 1660017 h 2064960"/>
                <a:gd name="csX743" fmla="*/ 8996267 w 10235564"/>
                <a:gd name="csY743" fmla="*/ 1116521 h 2064960"/>
                <a:gd name="csX744" fmla="*/ 8998363 w 10235564"/>
                <a:gd name="csY744" fmla="*/ 1108996 h 2064960"/>
                <a:gd name="csX745" fmla="*/ 9003697 w 10235564"/>
                <a:gd name="csY745" fmla="*/ 1105757 h 2064960"/>
                <a:gd name="csX746" fmla="*/ 9010079 w 10235564"/>
                <a:gd name="csY746" fmla="*/ 1104709 h 2064960"/>
                <a:gd name="csX747" fmla="*/ 9100851 w 10235564"/>
                <a:gd name="csY747" fmla="*/ 1085469 h 2064960"/>
                <a:gd name="csX748" fmla="*/ 9103519 w 10235564"/>
                <a:gd name="csY748" fmla="*/ 1084898 h 2064960"/>
                <a:gd name="csX749" fmla="*/ 9106186 w 10235564"/>
                <a:gd name="csY749" fmla="*/ 1084326 h 2064960"/>
                <a:gd name="csX750" fmla="*/ 9110472 w 10235564"/>
                <a:gd name="csY750" fmla="*/ 1084326 h 2064960"/>
                <a:gd name="csX751" fmla="*/ 9114282 w 10235564"/>
                <a:gd name="csY751" fmla="*/ 1087565 h 2064960"/>
                <a:gd name="csX752" fmla="*/ 9114758 w 10235564"/>
                <a:gd name="csY752" fmla="*/ 1097185 h 2064960"/>
                <a:gd name="csX753" fmla="*/ 9114758 w 10235564"/>
                <a:gd name="csY753" fmla="*/ 1679162 h 2064960"/>
                <a:gd name="csX754" fmla="*/ 9120664 w 10235564"/>
                <a:gd name="csY754" fmla="*/ 1730407 h 2064960"/>
                <a:gd name="csX755" fmla="*/ 9153239 w 10235564"/>
                <a:gd name="csY755" fmla="*/ 1751743 h 2064960"/>
                <a:gd name="csX756" fmla="*/ 9182100 w 10235564"/>
                <a:gd name="csY756" fmla="*/ 1746409 h 2064960"/>
                <a:gd name="csX757" fmla="*/ 9191720 w 10235564"/>
                <a:gd name="csY757" fmla="*/ 1744313 h 2064960"/>
                <a:gd name="csX758" fmla="*/ 9196007 w 10235564"/>
                <a:gd name="csY758" fmla="*/ 1747552 h 2064960"/>
                <a:gd name="csX759" fmla="*/ 9215247 w 10235564"/>
                <a:gd name="csY759" fmla="*/ 1826609 h 2064960"/>
                <a:gd name="csX760" fmla="*/ 9215724 w 10235564"/>
                <a:gd name="csY760" fmla="*/ 1832991 h 2064960"/>
                <a:gd name="csX761" fmla="*/ 9214104 w 10235564"/>
                <a:gd name="csY761" fmla="*/ 1836230 h 2064960"/>
                <a:gd name="csX762" fmla="*/ 9181052 w 10235564"/>
                <a:gd name="csY762" fmla="*/ 1850612 h 2064960"/>
                <a:gd name="csX763" fmla="*/ 9119045 w 10235564"/>
                <a:gd name="csY763" fmla="*/ 1857566 h 2064960"/>
                <a:gd name="csX764" fmla="*/ 9048464 w 10235564"/>
                <a:gd name="csY764" fmla="*/ 1840992 h 2064960"/>
                <a:gd name="csX765" fmla="*/ 9600914 w 10235564"/>
                <a:gd name="csY765" fmla="*/ 1839373 h 2064960"/>
                <a:gd name="csX766" fmla="*/ 9594532 w 10235564"/>
                <a:gd name="csY766" fmla="*/ 1832991 h 2064960"/>
                <a:gd name="csX767" fmla="*/ 9594532 w 10235564"/>
                <a:gd name="csY767" fmla="*/ 1504093 h 2064960"/>
                <a:gd name="csX768" fmla="*/ 9592913 w 10235564"/>
                <a:gd name="csY768" fmla="*/ 1472089 h 2064960"/>
                <a:gd name="csX769" fmla="*/ 9584341 w 10235564"/>
                <a:gd name="csY769" fmla="*/ 1440561 h 2064960"/>
                <a:gd name="csX770" fmla="*/ 9564052 w 10235564"/>
                <a:gd name="csY770" fmla="*/ 1415987 h 2064960"/>
                <a:gd name="csX771" fmla="*/ 9526143 w 10235564"/>
                <a:gd name="csY771" fmla="*/ 1405890 h 2064960"/>
                <a:gd name="csX772" fmla="*/ 9491949 w 10235564"/>
                <a:gd name="csY772" fmla="*/ 1411224 h 2064960"/>
                <a:gd name="csX773" fmla="*/ 9440133 w 10235564"/>
                <a:gd name="csY773" fmla="*/ 1440085 h 2064960"/>
                <a:gd name="csX774" fmla="*/ 9423559 w 10235564"/>
                <a:gd name="csY774" fmla="*/ 1453991 h 2064960"/>
                <a:gd name="csX775" fmla="*/ 9423559 w 10235564"/>
                <a:gd name="csY775" fmla="*/ 1833086 h 2064960"/>
                <a:gd name="csX776" fmla="*/ 9417177 w 10235564"/>
                <a:gd name="csY776" fmla="*/ 1839468 h 2064960"/>
                <a:gd name="csX777" fmla="*/ 9311450 w 10235564"/>
                <a:gd name="csY777" fmla="*/ 1839468 h 2064960"/>
                <a:gd name="csX778" fmla="*/ 9305067 w 10235564"/>
                <a:gd name="csY778" fmla="*/ 1833086 h 2064960"/>
                <a:gd name="csX779" fmla="*/ 9305067 w 10235564"/>
                <a:gd name="csY779" fmla="*/ 1510570 h 2064960"/>
                <a:gd name="csX780" fmla="*/ 9301829 w 10235564"/>
                <a:gd name="csY780" fmla="*/ 1423035 h 2064960"/>
                <a:gd name="csX781" fmla="*/ 9294305 w 10235564"/>
                <a:gd name="csY781" fmla="*/ 1378172 h 2064960"/>
                <a:gd name="csX782" fmla="*/ 9290590 w 10235564"/>
                <a:gd name="csY782" fmla="*/ 1364837 h 2064960"/>
                <a:gd name="csX783" fmla="*/ 9286875 w 10235564"/>
                <a:gd name="csY783" fmla="*/ 1355789 h 2064960"/>
                <a:gd name="csX784" fmla="*/ 9285827 w 10235564"/>
                <a:gd name="csY784" fmla="*/ 1346168 h 2064960"/>
                <a:gd name="csX785" fmla="*/ 9290114 w 10235564"/>
                <a:gd name="csY785" fmla="*/ 1340834 h 2064960"/>
                <a:gd name="csX786" fmla="*/ 9371266 w 10235564"/>
                <a:gd name="csY786" fmla="*/ 1314164 h 2064960"/>
                <a:gd name="csX787" fmla="*/ 9381458 w 10235564"/>
                <a:gd name="csY787" fmla="*/ 1310926 h 2064960"/>
                <a:gd name="csX788" fmla="*/ 9388411 w 10235564"/>
                <a:gd name="csY788" fmla="*/ 1313021 h 2064960"/>
                <a:gd name="csX789" fmla="*/ 9399651 w 10235564"/>
                <a:gd name="csY789" fmla="*/ 1335405 h 2064960"/>
                <a:gd name="csX790" fmla="*/ 9414034 w 10235564"/>
                <a:gd name="csY790" fmla="*/ 1391983 h 2064960"/>
                <a:gd name="csX791" fmla="*/ 9435941 w 10235564"/>
                <a:gd name="csY791" fmla="*/ 1372743 h 2064960"/>
                <a:gd name="csX792" fmla="*/ 9451467 w 10235564"/>
                <a:gd name="csY792" fmla="*/ 1358837 h 2064960"/>
                <a:gd name="csX793" fmla="*/ 9512332 w 10235564"/>
                <a:gd name="csY793" fmla="*/ 1323023 h 2064960"/>
                <a:gd name="csX794" fmla="*/ 9582817 w 10235564"/>
                <a:gd name="csY794" fmla="*/ 1310735 h 2064960"/>
                <a:gd name="csX795" fmla="*/ 9627108 w 10235564"/>
                <a:gd name="csY795" fmla="*/ 1316641 h 2064960"/>
                <a:gd name="csX796" fmla="*/ 9669304 w 10235564"/>
                <a:gd name="csY796" fmla="*/ 1338548 h 2064960"/>
                <a:gd name="csX797" fmla="*/ 9700832 w 10235564"/>
                <a:gd name="csY797" fmla="*/ 1383411 h 2064960"/>
                <a:gd name="csX798" fmla="*/ 9713119 w 10235564"/>
                <a:gd name="csY798" fmla="*/ 1458182 h 2064960"/>
                <a:gd name="csX799" fmla="*/ 9713119 w 10235564"/>
                <a:gd name="csY799" fmla="*/ 1832991 h 2064960"/>
                <a:gd name="csX800" fmla="*/ 9706737 w 10235564"/>
                <a:gd name="csY800" fmla="*/ 1839373 h 2064960"/>
                <a:gd name="csX801" fmla="*/ 9601009 w 10235564"/>
                <a:gd name="csY801" fmla="*/ 1839373 h 2064960"/>
                <a:gd name="csX802" fmla="*/ 10152126 w 10235564"/>
                <a:gd name="csY802" fmla="*/ 1853279 h 2064960"/>
                <a:gd name="csX803" fmla="*/ 10144602 w 10235564"/>
                <a:gd name="csY803" fmla="*/ 1856518 h 2064960"/>
                <a:gd name="csX804" fmla="*/ 10141362 w 10235564"/>
                <a:gd name="csY804" fmla="*/ 1857566 h 2064960"/>
                <a:gd name="csX805" fmla="*/ 10126980 w 10235564"/>
                <a:gd name="csY805" fmla="*/ 1835658 h 2064960"/>
                <a:gd name="csX806" fmla="*/ 10113645 w 10235564"/>
                <a:gd name="csY806" fmla="*/ 1784985 h 2064960"/>
                <a:gd name="csX807" fmla="*/ 10094976 w 10235564"/>
                <a:gd name="csY807" fmla="*/ 1803178 h 2064960"/>
                <a:gd name="csX808" fmla="*/ 10082689 w 10235564"/>
                <a:gd name="csY808" fmla="*/ 1814893 h 2064960"/>
                <a:gd name="csX809" fmla="*/ 10070972 w 10235564"/>
                <a:gd name="csY809" fmla="*/ 1825085 h 2064960"/>
                <a:gd name="csX810" fmla="*/ 10056019 w 10235564"/>
                <a:gd name="csY810" fmla="*/ 1835277 h 2064960"/>
                <a:gd name="csX811" fmla="*/ 10019728 w 10235564"/>
                <a:gd name="csY811" fmla="*/ 1850803 h 2064960"/>
                <a:gd name="csX812" fmla="*/ 9969532 w 10235564"/>
                <a:gd name="csY812" fmla="*/ 1857756 h 2064960"/>
                <a:gd name="csX813" fmla="*/ 9858375 w 10235564"/>
                <a:gd name="csY813" fmla="*/ 1816132 h 2064960"/>
                <a:gd name="csX814" fmla="*/ 9817798 w 10235564"/>
                <a:gd name="csY814" fmla="*/ 1701832 h 2064960"/>
                <a:gd name="csX815" fmla="*/ 9831705 w 10235564"/>
                <a:gd name="csY815" fmla="*/ 1629727 h 2064960"/>
                <a:gd name="csX816" fmla="*/ 9868566 w 10235564"/>
                <a:gd name="csY816" fmla="*/ 1581150 h 2064960"/>
                <a:gd name="csX817" fmla="*/ 9920954 w 10235564"/>
                <a:gd name="csY817" fmla="*/ 1551813 h 2064960"/>
                <a:gd name="csX818" fmla="*/ 9981343 w 10235564"/>
                <a:gd name="csY818" fmla="*/ 1536859 h 2064960"/>
                <a:gd name="csX819" fmla="*/ 10042779 w 10235564"/>
                <a:gd name="csY819" fmla="*/ 1530953 h 2064960"/>
                <a:gd name="csX820" fmla="*/ 10096691 w 10235564"/>
                <a:gd name="csY820" fmla="*/ 1529906 h 2064960"/>
                <a:gd name="csX821" fmla="*/ 10096691 w 10235564"/>
                <a:gd name="csY821" fmla="*/ 1488281 h 2064960"/>
                <a:gd name="csX822" fmla="*/ 10094023 w 10235564"/>
                <a:gd name="csY822" fmla="*/ 1453039 h 2064960"/>
                <a:gd name="csX823" fmla="*/ 10082308 w 10235564"/>
                <a:gd name="csY823" fmla="*/ 1425226 h 2064960"/>
                <a:gd name="csX824" fmla="*/ 10056685 w 10235564"/>
                <a:gd name="csY824" fmla="*/ 1407033 h 2064960"/>
                <a:gd name="csX825" fmla="*/ 10012299 w 10235564"/>
                <a:gd name="csY825" fmla="*/ 1400651 h 2064960"/>
                <a:gd name="csX826" fmla="*/ 9966388 w 10235564"/>
                <a:gd name="csY826" fmla="*/ 1405985 h 2064960"/>
                <a:gd name="csX827" fmla="*/ 9925812 w 10235564"/>
                <a:gd name="csY827" fmla="*/ 1416653 h 2064960"/>
                <a:gd name="csX828" fmla="*/ 9909238 w 10235564"/>
                <a:gd name="csY828" fmla="*/ 1423035 h 2064960"/>
                <a:gd name="csX829" fmla="*/ 9894855 w 10235564"/>
                <a:gd name="csY829" fmla="*/ 1428369 h 2064960"/>
                <a:gd name="csX830" fmla="*/ 9881997 w 10235564"/>
                <a:gd name="csY830" fmla="*/ 1431608 h 2064960"/>
                <a:gd name="csX831" fmla="*/ 9877711 w 10235564"/>
                <a:gd name="csY831" fmla="*/ 1428369 h 2064960"/>
                <a:gd name="csX832" fmla="*/ 9856375 w 10235564"/>
                <a:gd name="csY832" fmla="*/ 1363218 h 2064960"/>
                <a:gd name="csX833" fmla="*/ 9854279 w 10235564"/>
                <a:gd name="csY833" fmla="*/ 1357884 h 2064960"/>
                <a:gd name="csX834" fmla="*/ 9853231 w 10235564"/>
                <a:gd name="csY834" fmla="*/ 1352550 h 2064960"/>
                <a:gd name="csX835" fmla="*/ 9870281 w 10235564"/>
                <a:gd name="csY835" fmla="*/ 1339691 h 2064960"/>
                <a:gd name="csX836" fmla="*/ 9913525 w 10235564"/>
                <a:gd name="csY836" fmla="*/ 1325785 h 2064960"/>
                <a:gd name="csX837" fmla="*/ 9971723 w 10235564"/>
                <a:gd name="csY837" fmla="*/ 1315117 h 2064960"/>
                <a:gd name="csX838" fmla="*/ 10032588 w 10235564"/>
                <a:gd name="csY838" fmla="*/ 1310831 h 2064960"/>
                <a:gd name="csX839" fmla="*/ 10168794 w 10235564"/>
                <a:gd name="csY839" fmla="*/ 1352455 h 2064960"/>
                <a:gd name="csX840" fmla="*/ 10207753 w 10235564"/>
                <a:gd name="csY840" fmla="*/ 1474184 h 2064960"/>
                <a:gd name="csX841" fmla="*/ 10207753 w 10235564"/>
                <a:gd name="csY841" fmla="*/ 1680305 h 2064960"/>
                <a:gd name="csX842" fmla="*/ 10212038 w 10235564"/>
                <a:gd name="csY842" fmla="*/ 1744408 h 2064960"/>
                <a:gd name="csX843" fmla="*/ 10221659 w 10235564"/>
                <a:gd name="csY843" fmla="*/ 1783937 h 2064960"/>
                <a:gd name="csX844" fmla="*/ 10226992 w 10235564"/>
                <a:gd name="csY844" fmla="*/ 1796225 h 2064960"/>
                <a:gd name="csX845" fmla="*/ 10231279 w 10235564"/>
                <a:gd name="csY845" fmla="*/ 1806416 h 2064960"/>
                <a:gd name="csX846" fmla="*/ 10235565 w 10235564"/>
                <a:gd name="csY846" fmla="*/ 1817084 h 2064960"/>
                <a:gd name="csX847" fmla="*/ 10231279 w 10235564"/>
                <a:gd name="csY847" fmla="*/ 1821371 h 2064960"/>
                <a:gd name="csX848" fmla="*/ 10152221 w 10235564"/>
                <a:gd name="csY848" fmla="*/ 1853375 h 2064960"/>
                <a:gd name="csX849" fmla="*/ 10152221 w 10235564"/>
                <a:gd name="csY849" fmla="*/ 1853375 h 2064960"/>
                <a:gd name="csX850" fmla="*/ 10052685 w 10235564"/>
                <a:gd name="csY850" fmla="*/ 1600200 h 2064960"/>
                <a:gd name="csX851" fmla="*/ 10027539 w 10235564"/>
                <a:gd name="csY851" fmla="*/ 1602296 h 2064960"/>
                <a:gd name="csX852" fmla="*/ 10000298 w 10235564"/>
                <a:gd name="csY852" fmla="*/ 1607630 h 2064960"/>
                <a:gd name="csX853" fmla="*/ 9950672 w 10235564"/>
                <a:gd name="csY853" fmla="*/ 1634871 h 2064960"/>
                <a:gd name="csX854" fmla="*/ 9928765 w 10235564"/>
                <a:gd name="csY854" fmla="*/ 1694117 h 2064960"/>
                <a:gd name="csX855" fmla="*/ 9951244 w 10235564"/>
                <a:gd name="csY855" fmla="*/ 1751743 h 2064960"/>
                <a:gd name="csX856" fmla="*/ 10007822 w 10235564"/>
                <a:gd name="csY856" fmla="*/ 1775270 h 2064960"/>
                <a:gd name="csX857" fmla="*/ 10062306 w 10235564"/>
                <a:gd name="csY857" fmla="*/ 1758696 h 2064960"/>
                <a:gd name="csX858" fmla="*/ 10096500 w 10235564"/>
                <a:gd name="csY858" fmla="*/ 1729359 h 2064960"/>
                <a:gd name="csX859" fmla="*/ 10096500 w 10235564"/>
                <a:gd name="csY859" fmla="*/ 1600105 h 2064960"/>
                <a:gd name="csX860" fmla="*/ 10052685 w 10235564"/>
                <a:gd name="csY860" fmla="*/ 1600105 h 20649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</a:cxnLst>
              <a:rect l="l" t="t" r="r" b="b"/>
              <a:pathLst>
                <a:path w="10235564" h="2064960">
                  <a:moveTo>
                    <a:pt x="3673793" y="597217"/>
                  </a:moveTo>
                  <a:lnTo>
                    <a:pt x="3657981" y="597217"/>
                  </a:lnTo>
                  <a:lnTo>
                    <a:pt x="3657981" y="1841468"/>
                  </a:lnTo>
                  <a:lnTo>
                    <a:pt x="4356640" y="1841468"/>
                  </a:lnTo>
                  <a:cubicBezTo>
                    <a:pt x="4616006" y="1841468"/>
                    <a:pt x="4856036" y="1798796"/>
                    <a:pt x="4856036" y="1488376"/>
                  </a:cubicBezTo>
                  <a:cubicBezTo>
                    <a:pt x="4856036" y="1376839"/>
                    <a:pt x="4771740" y="1250728"/>
                    <a:pt x="4628960" y="1208532"/>
                  </a:cubicBezTo>
                  <a:cubicBezTo>
                    <a:pt x="4768406" y="1157192"/>
                    <a:pt x="4834128" y="1061752"/>
                    <a:pt x="4834128" y="911924"/>
                  </a:cubicBezTo>
                  <a:cubicBezTo>
                    <a:pt x="4834128" y="708850"/>
                    <a:pt x="4684776" y="597217"/>
                    <a:pt x="4413790" y="597217"/>
                  </a:cubicBezTo>
                  <a:lnTo>
                    <a:pt x="3673793" y="597217"/>
                  </a:lnTo>
                  <a:close/>
                  <a:moveTo>
                    <a:pt x="4220147" y="1342644"/>
                  </a:moveTo>
                  <a:cubicBezTo>
                    <a:pt x="4327017" y="1342644"/>
                    <a:pt x="4372642" y="1375029"/>
                    <a:pt x="4372642" y="1450276"/>
                  </a:cubicBezTo>
                  <a:cubicBezTo>
                    <a:pt x="4372642" y="1551718"/>
                    <a:pt x="4253294" y="1559433"/>
                    <a:pt x="4216432" y="1559433"/>
                  </a:cubicBezTo>
                  <a:lnTo>
                    <a:pt x="4114800" y="1559433"/>
                  </a:lnTo>
                  <a:lnTo>
                    <a:pt x="4114800" y="1342739"/>
                  </a:lnTo>
                  <a:lnTo>
                    <a:pt x="4220147" y="1342739"/>
                  </a:lnTo>
                  <a:close/>
                  <a:moveTo>
                    <a:pt x="4221766" y="858583"/>
                  </a:moveTo>
                  <a:cubicBezTo>
                    <a:pt x="4313873" y="858583"/>
                    <a:pt x="4360736" y="892874"/>
                    <a:pt x="4360736" y="960501"/>
                  </a:cubicBezTo>
                  <a:cubicBezTo>
                    <a:pt x="4360736" y="1043464"/>
                    <a:pt x="4279678" y="1060990"/>
                    <a:pt x="4211289" y="1060990"/>
                  </a:cubicBezTo>
                  <a:lnTo>
                    <a:pt x="4114800" y="1060990"/>
                  </a:lnTo>
                  <a:lnTo>
                    <a:pt x="4114800" y="858583"/>
                  </a:lnTo>
                  <a:lnTo>
                    <a:pt x="4221766" y="858583"/>
                  </a:lnTo>
                  <a:close/>
                  <a:moveTo>
                    <a:pt x="2237327" y="1219105"/>
                  </a:moveTo>
                  <a:cubicBezTo>
                    <a:pt x="2237327" y="1634204"/>
                    <a:pt x="2474405" y="1861947"/>
                    <a:pt x="2905601" y="1861947"/>
                  </a:cubicBezTo>
                  <a:cubicBezTo>
                    <a:pt x="3336798" y="1861947"/>
                    <a:pt x="3578733" y="1634109"/>
                    <a:pt x="3578733" y="1219105"/>
                  </a:cubicBezTo>
                  <a:cubicBezTo>
                    <a:pt x="3578733" y="804100"/>
                    <a:pt x="3333179" y="576548"/>
                    <a:pt x="2905601" y="576548"/>
                  </a:cubicBezTo>
                  <a:cubicBezTo>
                    <a:pt x="2478024" y="576548"/>
                    <a:pt x="2237327" y="810673"/>
                    <a:pt x="2237327" y="1219105"/>
                  </a:cubicBezTo>
                  <a:moveTo>
                    <a:pt x="2740914" y="1219105"/>
                  </a:moveTo>
                  <a:cubicBezTo>
                    <a:pt x="2740914" y="1007555"/>
                    <a:pt x="2796254" y="900113"/>
                    <a:pt x="2905601" y="900113"/>
                  </a:cubicBezTo>
                  <a:cubicBezTo>
                    <a:pt x="3053048" y="900113"/>
                    <a:pt x="3072765" y="1082612"/>
                    <a:pt x="3074670" y="1219391"/>
                  </a:cubicBezTo>
                  <a:cubicBezTo>
                    <a:pt x="3072765" y="1373315"/>
                    <a:pt x="3058001" y="1538288"/>
                    <a:pt x="2905601" y="1538288"/>
                  </a:cubicBezTo>
                  <a:cubicBezTo>
                    <a:pt x="2794730" y="1538288"/>
                    <a:pt x="2740914" y="1433798"/>
                    <a:pt x="2740914" y="1219009"/>
                  </a:cubicBezTo>
                  <a:moveTo>
                    <a:pt x="1098423" y="984790"/>
                  </a:moveTo>
                  <a:cubicBezTo>
                    <a:pt x="1098423" y="1293781"/>
                    <a:pt x="1352074" y="1347407"/>
                    <a:pt x="1537716" y="1386173"/>
                  </a:cubicBezTo>
                  <a:cubicBezTo>
                    <a:pt x="1637633" y="1406842"/>
                    <a:pt x="1716691" y="1423892"/>
                    <a:pt x="1716691" y="1471136"/>
                  </a:cubicBezTo>
                  <a:cubicBezTo>
                    <a:pt x="1716691" y="1518380"/>
                    <a:pt x="1620679" y="1538383"/>
                    <a:pt x="1530572" y="1538383"/>
                  </a:cubicBezTo>
                  <a:cubicBezTo>
                    <a:pt x="1393793" y="1538383"/>
                    <a:pt x="1249109" y="1509522"/>
                    <a:pt x="1132618" y="1459801"/>
                  </a:cubicBezTo>
                  <a:lnTo>
                    <a:pt x="1110044" y="1450276"/>
                  </a:lnTo>
                  <a:lnTo>
                    <a:pt x="1110044" y="1801463"/>
                  </a:lnTo>
                  <a:lnTo>
                    <a:pt x="1122807" y="1804607"/>
                  </a:lnTo>
                  <a:cubicBezTo>
                    <a:pt x="1293209" y="1845088"/>
                    <a:pt x="1439418" y="1862042"/>
                    <a:pt x="1611439" y="1862042"/>
                  </a:cubicBezTo>
                  <a:cubicBezTo>
                    <a:pt x="1783461" y="1862042"/>
                    <a:pt x="2200370" y="1821085"/>
                    <a:pt x="2200370" y="1439990"/>
                  </a:cubicBezTo>
                  <a:cubicBezTo>
                    <a:pt x="2200370" y="1131856"/>
                    <a:pt x="1945005" y="1080992"/>
                    <a:pt x="1758601" y="1043845"/>
                  </a:cubicBezTo>
                  <a:cubicBezTo>
                    <a:pt x="1659922" y="1024509"/>
                    <a:pt x="1582007" y="1009079"/>
                    <a:pt x="1582007" y="964121"/>
                  </a:cubicBezTo>
                  <a:cubicBezTo>
                    <a:pt x="1582007" y="907828"/>
                    <a:pt x="1672114" y="900208"/>
                    <a:pt x="1759744" y="900208"/>
                  </a:cubicBezTo>
                  <a:cubicBezTo>
                    <a:pt x="1875949" y="900208"/>
                    <a:pt x="1994726" y="921163"/>
                    <a:pt x="2103215" y="960025"/>
                  </a:cubicBezTo>
                  <a:lnTo>
                    <a:pt x="2124647" y="968121"/>
                  </a:lnTo>
                  <a:lnTo>
                    <a:pt x="2124647" y="620840"/>
                  </a:lnTo>
                  <a:lnTo>
                    <a:pt x="2111883" y="618649"/>
                  </a:lnTo>
                  <a:cubicBezTo>
                    <a:pt x="1983962" y="591312"/>
                    <a:pt x="1844516" y="576548"/>
                    <a:pt x="1719358" y="576548"/>
                  </a:cubicBezTo>
                  <a:cubicBezTo>
                    <a:pt x="1307306" y="576548"/>
                    <a:pt x="1098423" y="713994"/>
                    <a:pt x="1098423" y="984790"/>
                  </a:cubicBezTo>
                  <a:moveTo>
                    <a:pt x="368713" y="375761"/>
                  </a:moveTo>
                  <a:lnTo>
                    <a:pt x="227838" y="504635"/>
                  </a:lnTo>
                  <a:lnTo>
                    <a:pt x="238125" y="513493"/>
                  </a:lnTo>
                  <a:cubicBezTo>
                    <a:pt x="242030" y="517017"/>
                    <a:pt x="320707" y="582644"/>
                    <a:pt x="449294" y="617791"/>
                  </a:cubicBezTo>
                  <a:cubicBezTo>
                    <a:pt x="166878" y="701040"/>
                    <a:pt x="0" y="916115"/>
                    <a:pt x="0" y="1201865"/>
                  </a:cubicBezTo>
                  <a:cubicBezTo>
                    <a:pt x="0" y="1606963"/>
                    <a:pt x="274796" y="1858518"/>
                    <a:pt x="716756" y="1858518"/>
                  </a:cubicBezTo>
                  <a:cubicBezTo>
                    <a:pt x="862298" y="1858518"/>
                    <a:pt x="1003554" y="1821085"/>
                    <a:pt x="1043559" y="1809369"/>
                  </a:cubicBezTo>
                  <a:lnTo>
                    <a:pt x="1052227" y="1806702"/>
                  </a:lnTo>
                  <a:lnTo>
                    <a:pt x="1052227" y="1458849"/>
                  </a:lnTo>
                  <a:lnTo>
                    <a:pt x="1036034" y="1464755"/>
                  </a:lnTo>
                  <a:cubicBezTo>
                    <a:pt x="947928" y="1496092"/>
                    <a:pt x="871633" y="1511046"/>
                    <a:pt x="795909" y="1511046"/>
                  </a:cubicBezTo>
                  <a:cubicBezTo>
                    <a:pt x="601980" y="1511046"/>
                    <a:pt x="485870" y="1398080"/>
                    <a:pt x="485870" y="1208818"/>
                  </a:cubicBezTo>
                  <a:cubicBezTo>
                    <a:pt x="485870" y="1019556"/>
                    <a:pt x="610648" y="917353"/>
                    <a:pt x="810768" y="917353"/>
                  </a:cubicBezTo>
                  <a:cubicBezTo>
                    <a:pt x="886587" y="917353"/>
                    <a:pt x="962406" y="938498"/>
                    <a:pt x="1033177" y="961834"/>
                  </a:cubicBezTo>
                  <a:lnTo>
                    <a:pt x="1049179" y="966978"/>
                  </a:lnTo>
                  <a:lnTo>
                    <a:pt x="1049179" y="620649"/>
                  </a:lnTo>
                  <a:lnTo>
                    <a:pt x="1014984" y="614077"/>
                  </a:lnTo>
                  <a:cubicBezTo>
                    <a:pt x="954119" y="602837"/>
                    <a:pt x="903161" y="593408"/>
                    <a:pt x="849059" y="587502"/>
                  </a:cubicBezTo>
                  <a:cubicBezTo>
                    <a:pt x="946976" y="543973"/>
                    <a:pt x="1011555" y="484918"/>
                    <a:pt x="1043464" y="450342"/>
                  </a:cubicBezTo>
                  <a:lnTo>
                    <a:pt x="1052798" y="440627"/>
                  </a:lnTo>
                  <a:lnTo>
                    <a:pt x="998601" y="399860"/>
                  </a:lnTo>
                  <a:lnTo>
                    <a:pt x="991172" y="407956"/>
                  </a:lnTo>
                  <a:cubicBezTo>
                    <a:pt x="989933" y="409099"/>
                    <a:pt x="888873" y="517112"/>
                    <a:pt x="702183" y="515493"/>
                  </a:cubicBezTo>
                  <a:cubicBezTo>
                    <a:pt x="503301" y="513398"/>
                    <a:pt x="387572" y="377666"/>
                    <a:pt x="386334" y="376523"/>
                  </a:cubicBezTo>
                  <a:lnTo>
                    <a:pt x="377952" y="366522"/>
                  </a:lnTo>
                  <a:moveTo>
                    <a:pt x="5939409" y="766096"/>
                  </a:moveTo>
                  <a:cubicBezTo>
                    <a:pt x="5917406" y="762191"/>
                    <a:pt x="5895594" y="756857"/>
                    <a:pt x="5874258" y="750094"/>
                  </a:cubicBezTo>
                  <a:cubicBezTo>
                    <a:pt x="5858828" y="745236"/>
                    <a:pt x="5843683" y="739521"/>
                    <a:pt x="5828824" y="733044"/>
                  </a:cubicBezTo>
                  <a:cubicBezTo>
                    <a:pt x="5817108" y="727710"/>
                    <a:pt x="5810536" y="724376"/>
                    <a:pt x="5809107" y="722852"/>
                  </a:cubicBezTo>
                  <a:cubicBezTo>
                    <a:pt x="5806250" y="721424"/>
                    <a:pt x="5805012" y="719899"/>
                    <a:pt x="5805297" y="718090"/>
                  </a:cubicBezTo>
                  <a:cubicBezTo>
                    <a:pt x="5805678" y="716280"/>
                    <a:pt x="5807202" y="711517"/>
                    <a:pt x="5810060" y="703707"/>
                  </a:cubicBezTo>
                  <a:lnTo>
                    <a:pt x="5834634" y="633222"/>
                  </a:lnTo>
                  <a:cubicBezTo>
                    <a:pt x="5834634" y="631126"/>
                    <a:pt x="5836063" y="629983"/>
                    <a:pt x="5838921" y="629983"/>
                  </a:cubicBezTo>
                  <a:cubicBezTo>
                    <a:pt x="5841778" y="629983"/>
                    <a:pt x="5843969" y="630746"/>
                    <a:pt x="5845302" y="632079"/>
                  </a:cubicBezTo>
                  <a:cubicBezTo>
                    <a:pt x="5847398" y="632841"/>
                    <a:pt x="5849874" y="633889"/>
                    <a:pt x="5852827" y="635317"/>
                  </a:cubicBezTo>
                  <a:cubicBezTo>
                    <a:pt x="5862828" y="639604"/>
                    <a:pt x="5875592" y="644938"/>
                    <a:pt x="5891308" y="651320"/>
                  </a:cubicBezTo>
                  <a:cubicBezTo>
                    <a:pt x="5907691" y="657034"/>
                    <a:pt x="5926551" y="662368"/>
                    <a:pt x="5947887" y="667322"/>
                  </a:cubicBezTo>
                  <a:cubicBezTo>
                    <a:pt x="5969223" y="672274"/>
                    <a:pt x="5991701" y="674751"/>
                    <a:pt x="6015228" y="674751"/>
                  </a:cubicBezTo>
                  <a:cubicBezTo>
                    <a:pt x="6047232" y="674751"/>
                    <a:pt x="6072759" y="666083"/>
                    <a:pt x="6091619" y="648557"/>
                  </a:cubicBezTo>
                  <a:cubicBezTo>
                    <a:pt x="6110478" y="631126"/>
                    <a:pt x="6119908" y="604266"/>
                    <a:pt x="6119908" y="567976"/>
                  </a:cubicBezTo>
                  <a:cubicBezTo>
                    <a:pt x="6119908" y="541591"/>
                    <a:pt x="6112955" y="520827"/>
                    <a:pt x="6099048" y="505492"/>
                  </a:cubicBezTo>
                  <a:cubicBezTo>
                    <a:pt x="6083999" y="489204"/>
                    <a:pt x="6066473" y="475393"/>
                    <a:pt x="6047232" y="464344"/>
                  </a:cubicBezTo>
                  <a:cubicBezTo>
                    <a:pt x="6024467" y="451961"/>
                    <a:pt x="6001131" y="440722"/>
                    <a:pt x="5977224" y="430720"/>
                  </a:cubicBezTo>
                  <a:cubicBezTo>
                    <a:pt x="5949792" y="418910"/>
                    <a:pt x="5923217" y="405194"/>
                    <a:pt x="5897690" y="389573"/>
                  </a:cubicBezTo>
                  <a:cubicBezTo>
                    <a:pt x="5870544" y="373190"/>
                    <a:pt x="5849017" y="353473"/>
                    <a:pt x="5833015" y="330327"/>
                  </a:cubicBezTo>
                  <a:cubicBezTo>
                    <a:pt x="5817013" y="307181"/>
                    <a:pt x="5809012" y="274225"/>
                    <a:pt x="5809012" y="231553"/>
                  </a:cubicBezTo>
                  <a:cubicBezTo>
                    <a:pt x="5809012" y="194500"/>
                    <a:pt x="5815013" y="162878"/>
                    <a:pt x="5827205" y="136493"/>
                  </a:cubicBezTo>
                  <a:cubicBezTo>
                    <a:pt x="5838444" y="111252"/>
                    <a:pt x="5855494" y="88964"/>
                    <a:pt x="5876925" y="71342"/>
                  </a:cubicBezTo>
                  <a:cubicBezTo>
                    <a:pt x="5898356" y="54102"/>
                    <a:pt x="5923027" y="41339"/>
                    <a:pt x="5949506" y="34004"/>
                  </a:cubicBezTo>
                  <a:cubicBezTo>
                    <a:pt x="5977509" y="26098"/>
                    <a:pt x="6006465" y="22193"/>
                    <a:pt x="6035517" y="22289"/>
                  </a:cubicBezTo>
                  <a:cubicBezTo>
                    <a:pt x="6061901" y="22289"/>
                    <a:pt x="6086951" y="24765"/>
                    <a:pt x="6110859" y="29813"/>
                  </a:cubicBezTo>
                  <a:cubicBezTo>
                    <a:pt x="6134767" y="34766"/>
                    <a:pt x="6155722" y="40672"/>
                    <a:pt x="6173915" y="47435"/>
                  </a:cubicBezTo>
                  <a:cubicBezTo>
                    <a:pt x="6192108" y="54197"/>
                    <a:pt x="6206490" y="60579"/>
                    <a:pt x="6217158" y="66675"/>
                  </a:cubicBezTo>
                  <a:cubicBezTo>
                    <a:pt x="6227827" y="72771"/>
                    <a:pt x="6233160" y="76867"/>
                    <a:pt x="6233160" y="78962"/>
                  </a:cubicBezTo>
                  <a:cubicBezTo>
                    <a:pt x="6233065" y="80200"/>
                    <a:pt x="6232874" y="81439"/>
                    <a:pt x="6232589" y="82677"/>
                  </a:cubicBezTo>
                  <a:cubicBezTo>
                    <a:pt x="6231731" y="85535"/>
                    <a:pt x="6230493" y="88202"/>
                    <a:pt x="6228874" y="90678"/>
                  </a:cubicBezTo>
                  <a:lnTo>
                    <a:pt x="6193631" y="161163"/>
                  </a:lnTo>
                  <a:cubicBezTo>
                    <a:pt x="6191441" y="164020"/>
                    <a:pt x="6189345" y="165449"/>
                    <a:pt x="6187250" y="165449"/>
                  </a:cubicBezTo>
                  <a:cubicBezTo>
                    <a:pt x="6186202" y="164878"/>
                    <a:pt x="6185154" y="164497"/>
                    <a:pt x="6184011" y="164402"/>
                  </a:cubicBezTo>
                  <a:lnTo>
                    <a:pt x="6177630" y="161163"/>
                  </a:lnTo>
                  <a:cubicBezTo>
                    <a:pt x="6173153" y="158591"/>
                    <a:pt x="6168485" y="156210"/>
                    <a:pt x="6163723" y="154210"/>
                  </a:cubicBezTo>
                  <a:cubicBezTo>
                    <a:pt x="6157246" y="151352"/>
                    <a:pt x="6150769" y="148304"/>
                    <a:pt x="6144483" y="145161"/>
                  </a:cubicBezTo>
                  <a:cubicBezTo>
                    <a:pt x="6128862" y="138970"/>
                    <a:pt x="6112955" y="133445"/>
                    <a:pt x="6096953" y="128587"/>
                  </a:cubicBezTo>
                  <a:cubicBezTo>
                    <a:pt x="6065902" y="119444"/>
                    <a:pt x="6033040" y="118110"/>
                    <a:pt x="6001322" y="124873"/>
                  </a:cubicBezTo>
                  <a:cubicBezTo>
                    <a:pt x="5988939" y="127540"/>
                    <a:pt x="5977128" y="132683"/>
                    <a:pt x="5966555" y="139827"/>
                  </a:cubicBezTo>
                  <a:cubicBezTo>
                    <a:pt x="5956173" y="146971"/>
                    <a:pt x="5947696" y="156400"/>
                    <a:pt x="5940933" y="168116"/>
                  </a:cubicBezTo>
                  <a:cubicBezTo>
                    <a:pt x="5934171" y="179832"/>
                    <a:pt x="5930742" y="194691"/>
                    <a:pt x="5930742" y="212407"/>
                  </a:cubicBezTo>
                  <a:cubicBezTo>
                    <a:pt x="5930742" y="235172"/>
                    <a:pt x="5938647" y="253841"/>
                    <a:pt x="5954268" y="268510"/>
                  </a:cubicBezTo>
                  <a:cubicBezTo>
                    <a:pt x="5971032" y="283845"/>
                    <a:pt x="5989702" y="296990"/>
                    <a:pt x="6009799" y="307467"/>
                  </a:cubicBezTo>
                  <a:cubicBezTo>
                    <a:pt x="6020467" y="313182"/>
                    <a:pt x="6031897" y="318707"/>
                    <a:pt x="6043994" y="324040"/>
                  </a:cubicBezTo>
                  <a:cubicBezTo>
                    <a:pt x="6056090" y="329374"/>
                    <a:pt x="6068187" y="335280"/>
                    <a:pt x="6080284" y="341662"/>
                  </a:cubicBezTo>
                  <a:cubicBezTo>
                    <a:pt x="6092381" y="348044"/>
                    <a:pt x="6104763" y="354806"/>
                    <a:pt x="6117145" y="361950"/>
                  </a:cubicBezTo>
                  <a:cubicBezTo>
                    <a:pt x="6129528" y="369094"/>
                    <a:pt x="6141530" y="376523"/>
                    <a:pt x="6152864" y="384334"/>
                  </a:cubicBezTo>
                  <a:cubicBezTo>
                    <a:pt x="6179153" y="403384"/>
                    <a:pt x="6201156" y="427768"/>
                    <a:pt x="6217539" y="455866"/>
                  </a:cubicBezTo>
                  <a:cubicBezTo>
                    <a:pt x="6233541" y="483679"/>
                    <a:pt x="6241543" y="517112"/>
                    <a:pt x="6241543" y="556260"/>
                  </a:cubicBezTo>
                  <a:cubicBezTo>
                    <a:pt x="6241543" y="589026"/>
                    <a:pt x="6236018" y="618744"/>
                    <a:pt x="6224969" y="645414"/>
                  </a:cubicBezTo>
                  <a:cubicBezTo>
                    <a:pt x="6214587" y="671132"/>
                    <a:pt x="6198965" y="694468"/>
                    <a:pt x="6179058" y="713804"/>
                  </a:cubicBezTo>
                  <a:cubicBezTo>
                    <a:pt x="6158960" y="733044"/>
                    <a:pt x="6135148" y="747903"/>
                    <a:pt x="6109049" y="757618"/>
                  </a:cubicBezTo>
                  <a:cubicBezTo>
                    <a:pt x="6081999" y="767906"/>
                    <a:pt x="6052090" y="773144"/>
                    <a:pt x="6019324" y="773144"/>
                  </a:cubicBezTo>
                  <a:cubicBezTo>
                    <a:pt x="5992464" y="773240"/>
                    <a:pt x="5965603" y="770954"/>
                    <a:pt x="5939219" y="766191"/>
                  </a:cubicBezTo>
                  <a:moveTo>
                    <a:pt x="6419946" y="756475"/>
                  </a:moveTo>
                  <a:cubicBezTo>
                    <a:pt x="6402895" y="745903"/>
                    <a:pt x="6389465" y="730472"/>
                    <a:pt x="6381464" y="712184"/>
                  </a:cubicBezTo>
                  <a:cubicBezTo>
                    <a:pt x="6373273" y="693706"/>
                    <a:pt x="6368415" y="672465"/>
                    <a:pt x="6367082" y="648652"/>
                  </a:cubicBezTo>
                  <a:cubicBezTo>
                    <a:pt x="6365653" y="624268"/>
                    <a:pt x="6364891" y="599884"/>
                    <a:pt x="6364986" y="575500"/>
                  </a:cubicBezTo>
                  <a:lnTo>
                    <a:pt x="6364986" y="326707"/>
                  </a:lnTo>
                  <a:lnTo>
                    <a:pt x="6280595" y="326707"/>
                  </a:lnTo>
                  <a:cubicBezTo>
                    <a:pt x="6276308" y="326707"/>
                    <a:pt x="6274213" y="324612"/>
                    <a:pt x="6274213" y="320326"/>
                  </a:cubicBezTo>
                  <a:lnTo>
                    <a:pt x="6274213" y="250889"/>
                  </a:lnTo>
                  <a:cubicBezTo>
                    <a:pt x="6274213" y="246602"/>
                    <a:pt x="6276308" y="244507"/>
                    <a:pt x="6280595" y="244507"/>
                  </a:cubicBezTo>
                  <a:lnTo>
                    <a:pt x="6364986" y="244507"/>
                  </a:lnTo>
                  <a:lnTo>
                    <a:pt x="6364986" y="101441"/>
                  </a:lnTo>
                  <a:cubicBezTo>
                    <a:pt x="6364986" y="97917"/>
                    <a:pt x="6365558" y="95440"/>
                    <a:pt x="6366605" y="94012"/>
                  </a:cubicBezTo>
                  <a:cubicBezTo>
                    <a:pt x="6367653" y="92583"/>
                    <a:pt x="6370320" y="91535"/>
                    <a:pt x="6374606" y="90773"/>
                  </a:cubicBezTo>
                  <a:lnTo>
                    <a:pt x="6468618" y="77915"/>
                  </a:lnTo>
                  <a:cubicBezTo>
                    <a:pt x="6470809" y="77819"/>
                    <a:pt x="6472905" y="77438"/>
                    <a:pt x="6475000" y="76867"/>
                  </a:cubicBezTo>
                  <a:cubicBezTo>
                    <a:pt x="6477858" y="76200"/>
                    <a:pt x="6479953" y="76486"/>
                    <a:pt x="6481382" y="77915"/>
                  </a:cubicBezTo>
                  <a:cubicBezTo>
                    <a:pt x="6482810" y="79343"/>
                    <a:pt x="6483477" y="82582"/>
                    <a:pt x="6483477" y="87535"/>
                  </a:cubicBezTo>
                  <a:lnTo>
                    <a:pt x="6483477" y="244507"/>
                  </a:lnTo>
                  <a:lnTo>
                    <a:pt x="6620256" y="244507"/>
                  </a:lnTo>
                  <a:cubicBezTo>
                    <a:pt x="6622352" y="244507"/>
                    <a:pt x="6623495" y="245936"/>
                    <a:pt x="6623495" y="248793"/>
                  </a:cubicBezTo>
                  <a:cubicBezTo>
                    <a:pt x="6623495" y="250603"/>
                    <a:pt x="6623019" y="252412"/>
                    <a:pt x="6622447" y="254127"/>
                  </a:cubicBezTo>
                  <a:lnTo>
                    <a:pt x="6608540" y="317087"/>
                  </a:lnTo>
                  <a:cubicBezTo>
                    <a:pt x="6607111" y="321374"/>
                    <a:pt x="6605874" y="324040"/>
                    <a:pt x="6604826" y="325088"/>
                  </a:cubicBezTo>
                  <a:cubicBezTo>
                    <a:pt x="6603778" y="326136"/>
                    <a:pt x="6601397" y="326707"/>
                    <a:pt x="6597873" y="326707"/>
                  </a:cubicBezTo>
                  <a:lnTo>
                    <a:pt x="6483573" y="326707"/>
                  </a:lnTo>
                  <a:lnTo>
                    <a:pt x="6483573" y="593693"/>
                  </a:lnTo>
                  <a:cubicBezTo>
                    <a:pt x="6483573" y="613600"/>
                    <a:pt x="6485858" y="630936"/>
                    <a:pt x="6490526" y="645509"/>
                  </a:cubicBezTo>
                  <a:cubicBezTo>
                    <a:pt x="6495193" y="660083"/>
                    <a:pt x="6507766" y="667417"/>
                    <a:pt x="6528435" y="667417"/>
                  </a:cubicBezTo>
                  <a:cubicBezTo>
                    <a:pt x="6539865" y="667417"/>
                    <a:pt x="6550152" y="666369"/>
                    <a:pt x="6559392" y="664178"/>
                  </a:cubicBezTo>
                  <a:cubicBezTo>
                    <a:pt x="6568631" y="662083"/>
                    <a:pt x="6576822" y="659511"/>
                    <a:pt x="6583966" y="656749"/>
                  </a:cubicBezTo>
                  <a:cubicBezTo>
                    <a:pt x="6587585" y="655320"/>
                    <a:pt x="6590538" y="654272"/>
                    <a:pt x="6593015" y="653510"/>
                  </a:cubicBezTo>
                  <a:cubicBezTo>
                    <a:pt x="6595491" y="652843"/>
                    <a:pt x="6598158" y="651700"/>
                    <a:pt x="6601016" y="650272"/>
                  </a:cubicBezTo>
                  <a:cubicBezTo>
                    <a:pt x="6605969" y="648843"/>
                    <a:pt x="6609207" y="648843"/>
                    <a:pt x="6610636" y="650272"/>
                  </a:cubicBezTo>
                  <a:cubicBezTo>
                    <a:pt x="6611874" y="651510"/>
                    <a:pt x="6613018" y="652939"/>
                    <a:pt x="6613874" y="654558"/>
                  </a:cubicBezTo>
                  <a:lnTo>
                    <a:pt x="6634163" y="734663"/>
                  </a:lnTo>
                  <a:cubicBezTo>
                    <a:pt x="6635592" y="737521"/>
                    <a:pt x="6635210" y="739997"/>
                    <a:pt x="6633115" y="742188"/>
                  </a:cubicBezTo>
                  <a:cubicBezTo>
                    <a:pt x="6625305" y="750760"/>
                    <a:pt x="6608731" y="757999"/>
                    <a:pt x="6583394" y="764096"/>
                  </a:cubicBezTo>
                  <a:cubicBezTo>
                    <a:pt x="6558058" y="770096"/>
                    <a:pt x="6528340" y="773144"/>
                    <a:pt x="6494145" y="773144"/>
                  </a:cubicBezTo>
                  <a:cubicBezTo>
                    <a:pt x="6462141" y="773144"/>
                    <a:pt x="6437377" y="767620"/>
                    <a:pt x="6419850" y="756571"/>
                  </a:cubicBezTo>
                  <a:moveTo>
                    <a:pt x="7029546" y="768763"/>
                  </a:moveTo>
                  <a:cubicBezTo>
                    <a:pt x="7026688" y="770191"/>
                    <a:pt x="7024212" y="771239"/>
                    <a:pt x="7022116" y="772001"/>
                  </a:cubicBezTo>
                  <a:cubicBezTo>
                    <a:pt x="7020687" y="772001"/>
                    <a:pt x="7019639" y="772287"/>
                    <a:pt x="7018878" y="773049"/>
                  </a:cubicBezTo>
                  <a:cubicBezTo>
                    <a:pt x="7014591" y="773049"/>
                    <a:pt x="7009829" y="765715"/>
                    <a:pt x="7004399" y="751141"/>
                  </a:cubicBezTo>
                  <a:cubicBezTo>
                    <a:pt x="6998589" y="734663"/>
                    <a:pt x="6994112" y="717709"/>
                    <a:pt x="6991064" y="700373"/>
                  </a:cubicBezTo>
                  <a:cubicBezTo>
                    <a:pt x="6984587" y="706183"/>
                    <a:pt x="6978301" y="712184"/>
                    <a:pt x="6972396" y="718566"/>
                  </a:cubicBezTo>
                  <a:cubicBezTo>
                    <a:pt x="6968490" y="722852"/>
                    <a:pt x="6964394" y="726758"/>
                    <a:pt x="6960108" y="730282"/>
                  </a:cubicBezTo>
                  <a:cubicBezTo>
                    <a:pt x="6956394" y="733901"/>
                    <a:pt x="6952488" y="737330"/>
                    <a:pt x="6948392" y="740474"/>
                  </a:cubicBezTo>
                  <a:cubicBezTo>
                    <a:pt x="6943535" y="744093"/>
                    <a:pt x="6938582" y="747427"/>
                    <a:pt x="6933438" y="750570"/>
                  </a:cubicBezTo>
                  <a:cubicBezTo>
                    <a:pt x="6923437" y="756285"/>
                    <a:pt x="6911340" y="761429"/>
                    <a:pt x="6897148" y="766096"/>
                  </a:cubicBezTo>
                  <a:cubicBezTo>
                    <a:pt x="6882860" y="770763"/>
                    <a:pt x="6866192" y="773049"/>
                    <a:pt x="6846952" y="773049"/>
                  </a:cubicBezTo>
                  <a:cubicBezTo>
                    <a:pt x="6799898" y="773049"/>
                    <a:pt x="6762846" y="759142"/>
                    <a:pt x="6735794" y="731425"/>
                  </a:cubicBezTo>
                  <a:cubicBezTo>
                    <a:pt x="6708744" y="703612"/>
                    <a:pt x="6695218" y="665607"/>
                    <a:pt x="6695218" y="617125"/>
                  </a:cubicBezTo>
                  <a:cubicBezTo>
                    <a:pt x="6695218" y="588645"/>
                    <a:pt x="6699790" y="564642"/>
                    <a:pt x="6709124" y="545021"/>
                  </a:cubicBezTo>
                  <a:cubicBezTo>
                    <a:pt x="6717697" y="526351"/>
                    <a:pt x="6730270" y="509683"/>
                    <a:pt x="6745986" y="496443"/>
                  </a:cubicBezTo>
                  <a:cubicBezTo>
                    <a:pt x="6761512" y="483489"/>
                    <a:pt x="6779228" y="473583"/>
                    <a:pt x="6798374" y="467106"/>
                  </a:cubicBezTo>
                  <a:cubicBezTo>
                    <a:pt x="6817995" y="460343"/>
                    <a:pt x="6838188" y="455295"/>
                    <a:pt x="6858762" y="452152"/>
                  </a:cubicBezTo>
                  <a:cubicBezTo>
                    <a:pt x="6879051" y="449008"/>
                    <a:pt x="6899624" y="447008"/>
                    <a:pt x="6920199" y="446246"/>
                  </a:cubicBezTo>
                  <a:cubicBezTo>
                    <a:pt x="6938201" y="445579"/>
                    <a:pt x="6956203" y="445199"/>
                    <a:pt x="6974110" y="445199"/>
                  </a:cubicBezTo>
                  <a:lnTo>
                    <a:pt x="6974110" y="403574"/>
                  </a:lnTo>
                  <a:cubicBezTo>
                    <a:pt x="6974110" y="391763"/>
                    <a:pt x="6973253" y="379952"/>
                    <a:pt x="6971443" y="368332"/>
                  </a:cubicBezTo>
                  <a:cubicBezTo>
                    <a:pt x="6969919" y="358235"/>
                    <a:pt x="6965823" y="348710"/>
                    <a:pt x="6959727" y="340519"/>
                  </a:cubicBezTo>
                  <a:cubicBezTo>
                    <a:pt x="6953060" y="332232"/>
                    <a:pt x="6944106" y="325945"/>
                    <a:pt x="6934105" y="322326"/>
                  </a:cubicBezTo>
                  <a:cubicBezTo>
                    <a:pt x="6923056" y="318040"/>
                    <a:pt x="6908293" y="315944"/>
                    <a:pt x="6889814" y="315944"/>
                  </a:cubicBezTo>
                  <a:cubicBezTo>
                    <a:pt x="6874098" y="315944"/>
                    <a:pt x="6858858" y="317754"/>
                    <a:pt x="6843903" y="321278"/>
                  </a:cubicBezTo>
                  <a:cubicBezTo>
                    <a:pt x="6828949" y="324803"/>
                    <a:pt x="6815424" y="328422"/>
                    <a:pt x="6803327" y="331946"/>
                  </a:cubicBezTo>
                  <a:cubicBezTo>
                    <a:pt x="6797611" y="334042"/>
                    <a:pt x="6792087" y="336232"/>
                    <a:pt x="6786753" y="338328"/>
                  </a:cubicBezTo>
                  <a:cubicBezTo>
                    <a:pt x="6781419" y="340424"/>
                    <a:pt x="6776562" y="342233"/>
                    <a:pt x="6772371" y="343662"/>
                  </a:cubicBezTo>
                  <a:cubicBezTo>
                    <a:pt x="6765989" y="345757"/>
                    <a:pt x="6761703" y="346900"/>
                    <a:pt x="6759511" y="346900"/>
                  </a:cubicBezTo>
                  <a:cubicBezTo>
                    <a:pt x="6756654" y="346900"/>
                    <a:pt x="6755226" y="345853"/>
                    <a:pt x="6755226" y="343662"/>
                  </a:cubicBezTo>
                  <a:lnTo>
                    <a:pt x="6733889" y="278511"/>
                  </a:lnTo>
                  <a:cubicBezTo>
                    <a:pt x="6733032" y="276797"/>
                    <a:pt x="6732365" y="274987"/>
                    <a:pt x="6731794" y="273177"/>
                  </a:cubicBezTo>
                  <a:cubicBezTo>
                    <a:pt x="6731127" y="271462"/>
                    <a:pt x="6730746" y="269653"/>
                    <a:pt x="6730746" y="267843"/>
                  </a:cubicBezTo>
                  <a:cubicBezTo>
                    <a:pt x="6730746" y="264319"/>
                    <a:pt x="6736461" y="260032"/>
                    <a:pt x="6747796" y="254984"/>
                  </a:cubicBezTo>
                  <a:cubicBezTo>
                    <a:pt x="6761798" y="249174"/>
                    <a:pt x="6776276" y="244507"/>
                    <a:pt x="6791039" y="241078"/>
                  </a:cubicBezTo>
                  <a:cubicBezTo>
                    <a:pt x="6810280" y="236506"/>
                    <a:pt x="6829711" y="232886"/>
                    <a:pt x="6849237" y="230410"/>
                  </a:cubicBezTo>
                  <a:cubicBezTo>
                    <a:pt x="6869430" y="227648"/>
                    <a:pt x="6889814" y="226219"/>
                    <a:pt x="6910102" y="226124"/>
                  </a:cubicBezTo>
                  <a:cubicBezTo>
                    <a:pt x="6974872" y="226124"/>
                    <a:pt x="7020306" y="240030"/>
                    <a:pt x="7046310" y="267748"/>
                  </a:cubicBezTo>
                  <a:cubicBezTo>
                    <a:pt x="7072313" y="295465"/>
                    <a:pt x="7085362" y="336137"/>
                    <a:pt x="7085362" y="389477"/>
                  </a:cubicBezTo>
                  <a:lnTo>
                    <a:pt x="7085362" y="595598"/>
                  </a:lnTo>
                  <a:cubicBezTo>
                    <a:pt x="7085362" y="621887"/>
                    <a:pt x="7086791" y="643318"/>
                    <a:pt x="7089648" y="659701"/>
                  </a:cubicBezTo>
                  <a:cubicBezTo>
                    <a:pt x="7092506" y="676084"/>
                    <a:pt x="7095649" y="689229"/>
                    <a:pt x="7099269" y="699230"/>
                  </a:cubicBezTo>
                  <a:cubicBezTo>
                    <a:pt x="7101364" y="704279"/>
                    <a:pt x="7103174" y="708279"/>
                    <a:pt x="7104603" y="711517"/>
                  </a:cubicBezTo>
                  <a:cubicBezTo>
                    <a:pt x="7106031" y="714756"/>
                    <a:pt x="7107460" y="718090"/>
                    <a:pt x="7108889" y="721709"/>
                  </a:cubicBezTo>
                  <a:cubicBezTo>
                    <a:pt x="7111746" y="727424"/>
                    <a:pt x="7113175" y="730949"/>
                    <a:pt x="7113175" y="732377"/>
                  </a:cubicBezTo>
                  <a:cubicBezTo>
                    <a:pt x="7113175" y="733806"/>
                    <a:pt x="7111746" y="735235"/>
                    <a:pt x="7108889" y="736664"/>
                  </a:cubicBezTo>
                  <a:lnTo>
                    <a:pt x="7029831" y="768667"/>
                  </a:lnTo>
                  <a:lnTo>
                    <a:pt x="7029831" y="768667"/>
                  </a:lnTo>
                  <a:close/>
                  <a:moveTo>
                    <a:pt x="6930200" y="515683"/>
                  </a:moveTo>
                  <a:cubicBezTo>
                    <a:pt x="6922389" y="516446"/>
                    <a:pt x="6914007" y="517112"/>
                    <a:pt x="6905054" y="517779"/>
                  </a:cubicBezTo>
                  <a:cubicBezTo>
                    <a:pt x="6895814" y="518541"/>
                    <a:pt x="6886671" y="520351"/>
                    <a:pt x="6877812" y="523113"/>
                  </a:cubicBezTo>
                  <a:cubicBezTo>
                    <a:pt x="6859334" y="528066"/>
                    <a:pt x="6842284" y="537400"/>
                    <a:pt x="6828092" y="550355"/>
                  </a:cubicBezTo>
                  <a:cubicBezTo>
                    <a:pt x="6813423" y="563499"/>
                    <a:pt x="6806184" y="583311"/>
                    <a:pt x="6806184" y="609600"/>
                  </a:cubicBezTo>
                  <a:cubicBezTo>
                    <a:pt x="6806184" y="632365"/>
                    <a:pt x="6813709" y="651605"/>
                    <a:pt x="6828663" y="667226"/>
                  </a:cubicBezTo>
                  <a:cubicBezTo>
                    <a:pt x="6843617" y="682847"/>
                    <a:pt x="6862477" y="690753"/>
                    <a:pt x="6885242" y="690753"/>
                  </a:cubicBezTo>
                  <a:cubicBezTo>
                    <a:pt x="6906578" y="690753"/>
                    <a:pt x="6924771" y="685229"/>
                    <a:pt x="6939725" y="674180"/>
                  </a:cubicBezTo>
                  <a:cubicBezTo>
                    <a:pt x="6954679" y="663131"/>
                    <a:pt x="6966109" y="653320"/>
                    <a:pt x="6973919" y="644842"/>
                  </a:cubicBezTo>
                  <a:lnTo>
                    <a:pt x="6973919" y="515588"/>
                  </a:lnTo>
                  <a:lnTo>
                    <a:pt x="6930105" y="515588"/>
                  </a:lnTo>
                  <a:close/>
                  <a:moveTo>
                    <a:pt x="7442930" y="755904"/>
                  </a:moveTo>
                  <a:cubicBezTo>
                    <a:pt x="7442073" y="758381"/>
                    <a:pt x="7440835" y="760762"/>
                    <a:pt x="7439216" y="762857"/>
                  </a:cubicBezTo>
                  <a:cubicBezTo>
                    <a:pt x="7438168" y="763905"/>
                    <a:pt x="7435501" y="764476"/>
                    <a:pt x="7431215" y="764476"/>
                  </a:cubicBezTo>
                  <a:lnTo>
                    <a:pt x="7343585" y="764476"/>
                  </a:lnTo>
                  <a:cubicBezTo>
                    <a:pt x="7339299" y="764476"/>
                    <a:pt x="7336631" y="763905"/>
                    <a:pt x="7335584" y="762857"/>
                  </a:cubicBezTo>
                  <a:cubicBezTo>
                    <a:pt x="7333964" y="760762"/>
                    <a:pt x="7332727" y="758381"/>
                    <a:pt x="7331869" y="755904"/>
                  </a:cubicBezTo>
                  <a:lnTo>
                    <a:pt x="7160895" y="263652"/>
                  </a:lnTo>
                  <a:cubicBezTo>
                    <a:pt x="7160705" y="261652"/>
                    <a:pt x="7160228" y="259652"/>
                    <a:pt x="7159276" y="257747"/>
                  </a:cubicBezTo>
                  <a:cubicBezTo>
                    <a:pt x="7158228" y="255556"/>
                    <a:pt x="7158038" y="253079"/>
                    <a:pt x="7158705" y="250793"/>
                  </a:cubicBezTo>
                  <a:cubicBezTo>
                    <a:pt x="7159371" y="247936"/>
                    <a:pt x="7164039" y="246221"/>
                    <a:pt x="7172611" y="245459"/>
                  </a:cubicBezTo>
                  <a:lnTo>
                    <a:pt x="7260241" y="235839"/>
                  </a:lnTo>
                  <a:cubicBezTo>
                    <a:pt x="7262337" y="235839"/>
                    <a:pt x="7264908" y="235649"/>
                    <a:pt x="7267766" y="235268"/>
                  </a:cubicBezTo>
                  <a:cubicBezTo>
                    <a:pt x="7270623" y="234886"/>
                    <a:pt x="7272814" y="234696"/>
                    <a:pt x="7274148" y="234696"/>
                  </a:cubicBezTo>
                  <a:cubicBezTo>
                    <a:pt x="7277005" y="234696"/>
                    <a:pt x="7279195" y="236315"/>
                    <a:pt x="7280529" y="239458"/>
                  </a:cubicBezTo>
                  <a:cubicBezTo>
                    <a:pt x="7281958" y="242697"/>
                    <a:pt x="7283006" y="246031"/>
                    <a:pt x="7283768" y="249555"/>
                  </a:cubicBezTo>
                  <a:lnTo>
                    <a:pt x="7348919" y="489871"/>
                  </a:lnTo>
                  <a:cubicBezTo>
                    <a:pt x="7351777" y="500539"/>
                    <a:pt x="7355205" y="512826"/>
                    <a:pt x="7359110" y="526733"/>
                  </a:cubicBezTo>
                  <a:cubicBezTo>
                    <a:pt x="7363016" y="540639"/>
                    <a:pt x="7366826" y="554831"/>
                    <a:pt x="7370350" y="569405"/>
                  </a:cubicBezTo>
                  <a:cubicBezTo>
                    <a:pt x="7373969" y="584073"/>
                    <a:pt x="7377494" y="598360"/>
                    <a:pt x="7381018" y="612648"/>
                  </a:cubicBezTo>
                  <a:cubicBezTo>
                    <a:pt x="7384543" y="626935"/>
                    <a:pt x="7387400" y="639699"/>
                    <a:pt x="7389590" y="651129"/>
                  </a:cubicBezTo>
                  <a:lnTo>
                    <a:pt x="7395972" y="651129"/>
                  </a:lnTo>
                  <a:lnTo>
                    <a:pt x="7405592" y="612648"/>
                  </a:lnTo>
                  <a:cubicBezTo>
                    <a:pt x="7412831" y="583883"/>
                    <a:pt x="7420451" y="555212"/>
                    <a:pt x="7428548" y="526637"/>
                  </a:cubicBezTo>
                  <a:cubicBezTo>
                    <a:pt x="7432453" y="512731"/>
                    <a:pt x="7435882" y="500444"/>
                    <a:pt x="7438739" y="489775"/>
                  </a:cubicBezTo>
                  <a:lnTo>
                    <a:pt x="7511415" y="249460"/>
                  </a:lnTo>
                  <a:cubicBezTo>
                    <a:pt x="7512844" y="243745"/>
                    <a:pt x="7514273" y="239840"/>
                    <a:pt x="7515701" y="237744"/>
                  </a:cubicBezTo>
                  <a:cubicBezTo>
                    <a:pt x="7517130" y="235649"/>
                    <a:pt x="7518940" y="234506"/>
                    <a:pt x="7521035" y="234506"/>
                  </a:cubicBezTo>
                  <a:lnTo>
                    <a:pt x="7523131" y="234506"/>
                  </a:lnTo>
                  <a:cubicBezTo>
                    <a:pt x="7524560" y="234506"/>
                    <a:pt x="7526369" y="234696"/>
                    <a:pt x="7528465" y="235077"/>
                  </a:cubicBezTo>
                  <a:cubicBezTo>
                    <a:pt x="7530275" y="235363"/>
                    <a:pt x="7531989" y="235553"/>
                    <a:pt x="7533799" y="235649"/>
                  </a:cubicBezTo>
                  <a:lnTo>
                    <a:pt x="7606475" y="245269"/>
                  </a:lnTo>
                  <a:lnTo>
                    <a:pt x="7617714" y="246888"/>
                  </a:lnTo>
                  <a:cubicBezTo>
                    <a:pt x="7620191" y="247174"/>
                    <a:pt x="7621429" y="248507"/>
                    <a:pt x="7621429" y="250603"/>
                  </a:cubicBezTo>
                  <a:cubicBezTo>
                    <a:pt x="7620953" y="253365"/>
                    <a:pt x="7620191" y="256032"/>
                    <a:pt x="7619333" y="258604"/>
                  </a:cubicBezTo>
                  <a:cubicBezTo>
                    <a:pt x="7618667" y="260128"/>
                    <a:pt x="7618286" y="261747"/>
                    <a:pt x="7618286" y="263366"/>
                  </a:cubicBezTo>
                  <a:lnTo>
                    <a:pt x="7443026" y="755618"/>
                  </a:lnTo>
                  <a:lnTo>
                    <a:pt x="7443026" y="755618"/>
                  </a:lnTo>
                  <a:close/>
                  <a:moveTo>
                    <a:pt x="7783830" y="527399"/>
                  </a:moveTo>
                  <a:cubicBezTo>
                    <a:pt x="7783830" y="544449"/>
                    <a:pt x="7785259" y="562070"/>
                    <a:pt x="7788211" y="580263"/>
                  </a:cubicBezTo>
                  <a:cubicBezTo>
                    <a:pt x="7790688" y="597599"/>
                    <a:pt x="7796880" y="614077"/>
                    <a:pt x="7806309" y="628841"/>
                  </a:cubicBezTo>
                  <a:cubicBezTo>
                    <a:pt x="7815549" y="643128"/>
                    <a:pt x="7828407" y="654844"/>
                    <a:pt x="7844790" y="664083"/>
                  </a:cubicBezTo>
                  <a:cubicBezTo>
                    <a:pt x="7861173" y="673322"/>
                    <a:pt x="7882890" y="677990"/>
                    <a:pt x="7909941" y="677990"/>
                  </a:cubicBezTo>
                  <a:cubicBezTo>
                    <a:pt x="7927944" y="678180"/>
                    <a:pt x="7945851" y="676180"/>
                    <a:pt x="7963376" y="672084"/>
                  </a:cubicBezTo>
                  <a:cubicBezTo>
                    <a:pt x="7978998" y="668179"/>
                    <a:pt x="7992523" y="664083"/>
                    <a:pt x="8003953" y="659797"/>
                  </a:cubicBezTo>
                  <a:cubicBezTo>
                    <a:pt x="8016050" y="655510"/>
                    <a:pt x="8025670" y="651224"/>
                    <a:pt x="8032814" y="646938"/>
                  </a:cubicBezTo>
                  <a:cubicBezTo>
                    <a:pt x="8035671" y="645509"/>
                    <a:pt x="8037957" y="644462"/>
                    <a:pt x="8039767" y="643699"/>
                  </a:cubicBezTo>
                  <a:cubicBezTo>
                    <a:pt x="8041291" y="643033"/>
                    <a:pt x="8042910" y="642652"/>
                    <a:pt x="8044530" y="642652"/>
                  </a:cubicBezTo>
                  <a:cubicBezTo>
                    <a:pt x="8046625" y="642652"/>
                    <a:pt x="8048435" y="644081"/>
                    <a:pt x="8049864" y="646938"/>
                  </a:cubicBezTo>
                  <a:lnTo>
                    <a:pt x="8078724" y="712089"/>
                  </a:lnTo>
                  <a:cubicBezTo>
                    <a:pt x="8080820" y="715613"/>
                    <a:pt x="8080534" y="718852"/>
                    <a:pt x="8077676" y="721709"/>
                  </a:cubicBezTo>
                  <a:cubicBezTo>
                    <a:pt x="8072724" y="726662"/>
                    <a:pt x="8064342" y="732187"/>
                    <a:pt x="8052530" y="738283"/>
                  </a:cubicBezTo>
                  <a:cubicBezTo>
                    <a:pt x="8038814" y="745141"/>
                    <a:pt x="8024527" y="750856"/>
                    <a:pt x="8009763" y="755333"/>
                  </a:cubicBezTo>
                  <a:cubicBezTo>
                    <a:pt x="7991951" y="760952"/>
                    <a:pt x="7973759" y="765239"/>
                    <a:pt x="7955280" y="768191"/>
                  </a:cubicBezTo>
                  <a:cubicBezTo>
                    <a:pt x="7935659" y="771430"/>
                    <a:pt x="7915942" y="772954"/>
                    <a:pt x="7895939" y="772954"/>
                  </a:cubicBezTo>
                  <a:cubicBezTo>
                    <a:pt x="7861745" y="772954"/>
                    <a:pt x="7830598" y="767906"/>
                    <a:pt x="7802499" y="757999"/>
                  </a:cubicBezTo>
                  <a:cubicBezTo>
                    <a:pt x="7774877" y="748379"/>
                    <a:pt x="7749921" y="732282"/>
                    <a:pt x="7729824" y="711041"/>
                  </a:cubicBezTo>
                  <a:cubicBezTo>
                    <a:pt x="7709535" y="689705"/>
                    <a:pt x="7693628" y="661892"/>
                    <a:pt x="7682294" y="627698"/>
                  </a:cubicBezTo>
                  <a:cubicBezTo>
                    <a:pt x="7670959" y="593503"/>
                    <a:pt x="7665244" y="552545"/>
                    <a:pt x="7665244" y="504920"/>
                  </a:cubicBezTo>
                  <a:cubicBezTo>
                    <a:pt x="7665244" y="462915"/>
                    <a:pt x="7670578" y="424815"/>
                    <a:pt x="7681246" y="390620"/>
                  </a:cubicBezTo>
                  <a:cubicBezTo>
                    <a:pt x="7691914" y="356425"/>
                    <a:pt x="7707059" y="327184"/>
                    <a:pt x="7726680" y="303086"/>
                  </a:cubicBezTo>
                  <a:cubicBezTo>
                    <a:pt x="7745920" y="279178"/>
                    <a:pt x="7770114" y="259842"/>
                    <a:pt x="7797736" y="246507"/>
                  </a:cubicBezTo>
                  <a:cubicBezTo>
                    <a:pt x="7825550" y="232982"/>
                    <a:pt x="7856506" y="226219"/>
                    <a:pt x="7890701" y="226219"/>
                  </a:cubicBezTo>
                  <a:cubicBezTo>
                    <a:pt x="7934135" y="226219"/>
                    <a:pt x="7969186" y="234791"/>
                    <a:pt x="7995952" y="251841"/>
                  </a:cubicBezTo>
                  <a:cubicBezTo>
                    <a:pt x="8022145" y="268415"/>
                    <a:pt x="8043672" y="291370"/>
                    <a:pt x="8058436" y="318611"/>
                  </a:cubicBezTo>
                  <a:cubicBezTo>
                    <a:pt x="8073390" y="345948"/>
                    <a:pt x="8083392" y="376428"/>
                    <a:pt x="8088344" y="409956"/>
                  </a:cubicBezTo>
                  <a:cubicBezTo>
                    <a:pt x="8093393" y="443389"/>
                    <a:pt x="8095869" y="476536"/>
                    <a:pt x="8095869" y="509302"/>
                  </a:cubicBezTo>
                  <a:cubicBezTo>
                    <a:pt x="8095869" y="517874"/>
                    <a:pt x="8095203" y="523018"/>
                    <a:pt x="8093774" y="524827"/>
                  </a:cubicBezTo>
                  <a:cubicBezTo>
                    <a:pt x="8092345" y="526637"/>
                    <a:pt x="8087773" y="527495"/>
                    <a:pt x="8079868" y="527495"/>
                  </a:cubicBezTo>
                  <a:lnTo>
                    <a:pt x="7783926" y="527495"/>
                  </a:lnTo>
                  <a:close/>
                  <a:moveTo>
                    <a:pt x="7829264" y="324517"/>
                  </a:moveTo>
                  <a:cubicBezTo>
                    <a:pt x="7816120" y="335185"/>
                    <a:pt x="7806309" y="347662"/>
                    <a:pt x="7799928" y="361855"/>
                  </a:cubicBezTo>
                  <a:cubicBezTo>
                    <a:pt x="7794308" y="374999"/>
                    <a:pt x="7790307" y="388811"/>
                    <a:pt x="7788211" y="403003"/>
                  </a:cubicBezTo>
                  <a:cubicBezTo>
                    <a:pt x="7786021" y="416909"/>
                    <a:pt x="7784306" y="430911"/>
                    <a:pt x="7782878" y="445199"/>
                  </a:cubicBezTo>
                  <a:lnTo>
                    <a:pt x="7968710" y="445199"/>
                  </a:lnTo>
                  <a:cubicBezTo>
                    <a:pt x="7968710" y="430911"/>
                    <a:pt x="7968044" y="415957"/>
                    <a:pt x="7966615" y="400336"/>
                  </a:cubicBezTo>
                  <a:cubicBezTo>
                    <a:pt x="7965281" y="385096"/>
                    <a:pt x="7961662" y="370141"/>
                    <a:pt x="7955947" y="356045"/>
                  </a:cubicBezTo>
                  <a:cubicBezTo>
                    <a:pt x="7950613" y="342614"/>
                    <a:pt x="7941755" y="330803"/>
                    <a:pt x="7930325" y="321850"/>
                  </a:cubicBezTo>
                  <a:cubicBezTo>
                    <a:pt x="7918990" y="312991"/>
                    <a:pt x="7903274" y="308515"/>
                    <a:pt x="7883271" y="308515"/>
                  </a:cubicBezTo>
                  <a:cubicBezTo>
                    <a:pt x="7860506" y="308515"/>
                    <a:pt x="7842504" y="313849"/>
                    <a:pt x="7829360" y="324517"/>
                  </a:cubicBezTo>
                  <a:lnTo>
                    <a:pt x="7829360" y="324517"/>
                  </a:lnTo>
                  <a:close/>
                  <a:moveTo>
                    <a:pt x="8386858" y="768191"/>
                  </a:moveTo>
                  <a:cubicBezTo>
                    <a:pt x="8377619" y="765334"/>
                    <a:pt x="8368665" y="761524"/>
                    <a:pt x="8360188" y="757047"/>
                  </a:cubicBezTo>
                  <a:cubicBezTo>
                    <a:pt x="8356759" y="755047"/>
                    <a:pt x="8353521" y="752761"/>
                    <a:pt x="8350568" y="750094"/>
                  </a:cubicBezTo>
                  <a:cubicBezTo>
                    <a:pt x="8347805" y="747713"/>
                    <a:pt x="8344948" y="745331"/>
                    <a:pt x="8341995" y="743141"/>
                  </a:cubicBezTo>
                  <a:cubicBezTo>
                    <a:pt x="8339042" y="740188"/>
                    <a:pt x="8336185" y="737140"/>
                    <a:pt x="8333423" y="734092"/>
                  </a:cubicBezTo>
                  <a:cubicBezTo>
                    <a:pt x="8330565" y="730853"/>
                    <a:pt x="8325612" y="725710"/>
                    <a:pt x="8318469" y="718566"/>
                  </a:cubicBezTo>
                  <a:cubicBezTo>
                    <a:pt x="8314849" y="728567"/>
                    <a:pt x="8312086" y="736378"/>
                    <a:pt x="8309896" y="742093"/>
                  </a:cubicBezTo>
                  <a:cubicBezTo>
                    <a:pt x="8307705" y="747903"/>
                    <a:pt x="8305229" y="753618"/>
                    <a:pt x="8302371" y="759142"/>
                  </a:cubicBezTo>
                  <a:cubicBezTo>
                    <a:pt x="8301038" y="762476"/>
                    <a:pt x="8299419" y="765715"/>
                    <a:pt x="8297609" y="768763"/>
                  </a:cubicBezTo>
                  <a:cubicBezTo>
                    <a:pt x="8295799" y="771620"/>
                    <a:pt x="8293513" y="773049"/>
                    <a:pt x="8290655" y="773049"/>
                  </a:cubicBezTo>
                  <a:cubicBezTo>
                    <a:pt x="8287798" y="773049"/>
                    <a:pt x="8283511" y="772382"/>
                    <a:pt x="8277797" y="770954"/>
                  </a:cubicBezTo>
                  <a:lnTo>
                    <a:pt x="8198739" y="751713"/>
                  </a:lnTo>
                  <a:cubicBezTo>
                    <a:pt x="8195501" y="751141"/>
                    <a:pt x="8192548" y="749713"/>
                    <a:pt x="8190167" y="747427"/>
                  </a:cubicBezTo>
                  <a:cubicBezTo>
                    <a:pt x="8189500" y="746093"/>
                    <a:pt x="8189500" y="744474"/>
                    <a:pt x="8190167" y="743141"/>
                  </a:cubicBezTo>
                  <a:lnTo>
                    <a:pt x="8191786" y="739902"/>
                  </a:lnTo>
                  <a:cubicBezTo>
                    <a:pt x="8192167" y="739235"/>
                    <a:pt x="8193024" y="737807"/>
                    <a:pt x="8194453" y="735616"/>
                  </a:cubicBezTo>
                  <a:cubicBezTo>
                    <a:pt x="8202549" y="718852"/>
                    <a:pt x="8207598" y="700754"/>
                    <a:pt x="8209407" y="682181"/>
                  </a:cubicBezTo>
                  <a:cubicBezTo>
                    <a:pt x="8210836" y="665131"/>
                    <a:pt x="8211503" y="646938"/>
                    <a:pt x="8211503" y="627698"/>
                  </a:cubicBezTo>
                  <a:lnTo>
                    <a:pt x="8211503" y="31814"/>
                  </a:lnTo>
                  <a:cubicBezTo>
                    <a:pt x="8211503" y="28956"/>
                    <a:pt x="8211884" y="26765"/>
                    <a:pt x="8212551" y="25432"/>
                  </a:cubicBezTo>
                  <a:cubicBezTo>
                    <a:pt x="8213979" y="22574"/>
                    <a:pt x="8216456" y="21145"/>
                    <a:pt x="8220075" y="21145"/>
                  </a:cubicBezTo>
                  <a:lnTo>
                    <a:pt x="8314087" y="1905"/>
                  </a:lnTo>
                  <a:cubicBezTo>
                    <a:pt x="8315516" y="1905"/>
                    <a:pt x="8316754" y="1715"/>
                    <a:pt x="8317802" y="1333"/>
                  </a:cubicBezTo>
                  <a:cubicBezTo>
                    <a:pt x="8319040" y="952"/>
                    <a:pt x="8320278" y="762"/>
                    <a:pt x="8321517" y="762"/>
                  </a:cubicBezTo>
                  <a:cubicBezTo>
                    <a:pt x="8320755" y="762"/>
                    <a:pt x="8321135" y="572"/>
                    <a:pt x="8322564" y="190"/>
                  </a:cubicBezTo>
                  <a:cubicBezTo>
                    <a:pt x="8323993" y="-190"/>
                    <a:pt x="8325517" y="0"/>
                    <a:pt x="8326851" y="762"/>
                  </a:cubicBezTo>
                  <a:cubicBezTo>
                    <a:pt x="8328946" y="1524"/>
                    <a:pt x="8330089" y="5429"/>
                    <a:pt x="8330089" y="12478"/>
                  </a:cubicBezTo>
                  <a:lnTo>
                    <a:pt x="8330089" y="281559"/>
                  </a:lnTo>
                  <a:cubicBezTo>
                    <a:pt x="8339328" y="274415"/>
                    <a:pt x="8348567" y="267653"/>
                    <a:pt x="8357902" y="261271"/>
                  </a:cubicBezTo>
                  <a:cubicBezTo>
                    <a:pt x="8367522" y="254603"/>
                    <a:pt x="8377524" y="248603"/>
                    <a:pt x="8387810" y="243078"/>
                  </a:cubicBezTo>
                  <a:cubicBezTo>
                    <a:pt x="8397050" y="238792"/>
                    <a:pt x="8407432" y="234886"/>
                    <a:pt x="8418766" y="231362"/>
                  </a:cubicBezTo>
                  <a:cubicBezTo>
                    <a:pt x="8430101" y="227838"/>
                    <a:pt x="8442960" y="226028"/>
                    <a:pt x="8457248" y="226028"/>
                  </a:cubicBezTo>
                  <a:cubicBezTo>
                    <a:pt x="8491442" y="226028"/>
                    <a:pt x="8519922" y="232982"/>
                    <a:pt x="8542687" y="246888"/>
                  </a:cubicBezTo>
                  <a:cubicBezTo>
                    <a:pt x="8565452" y="260699"/>
                    <a:pt x="8584311" y="279940"/>
                    <a:pt x="8597741" y="302990"/>
                  </a:cubicBezTo>
                  <a:cubicBezTo>
                    <a:pt x="8611648" y="326517"/>
                    <a:pt x="8621459" y="353949"/>
                    <a:pt x="8627078" y="385191"/>
                  </a:cubicBezTo>
                  <a:cubicBezTo>
                    <a:pt x="8632793" y="416528"/>
                    <a:pt x="8635651" y="449580"/>
                    <a:pt x="8635651" y="484537"/>
                  </a:cubicBezTo>
                  <a:cubicBezTo>
                    <a:pt x="8635651" y="574929"/>
                    <a:pt x="8617268" y="645605"/>
                    <a:pt x="8580596" y="696468"/>
                  </a:cubicBezTo>
                  <a:cubicBezTo>
                    <a:pt x="8543830" y="747427"/>
                    <a:pt x="8491347" y="772858"/>
                    <a:pt x="8423053" y="772858"/>
                  </a:cubicBezTo>
                  <a:cubicBezTo>
                    <a:pt x="8408765" y="772858"/>
                    <a:pt x="8396668" y="771239"/>
                    <a:pt x="8386763" y="768096"/>
                  </a:cubicBezTo>
                  <a:moveTo>
                    <a:pt x="8376190" y="323945"/>
                  </a:moveTo>
                  <a:cubicBezTo>
                    <a:pt x="8365522" y="329279"/>
                    <a:pt x="8355140" y="335947"/>
                    <a:pt x="8345234" y="343662"/>
                  </a:cubicBezTo>
                  <a:cubicBezTo>
                    <a:pt x="8343233" y="345757"/>
                    <a:pt x="8341043" y="347662"/>
                    <a:pt x="8338852" y="349568"/>
                  </a:cubicBezTo>
                  <a:cubicBezTo>
                    <a:pt x="8336756" y="351377"/>
                    <a:pt x="8333804" y="353663"/>
                    <a:pt x="8330280" y="356521"/>
                  </a:cubicBezTo>
                  <a:lnTo>
                    <a:pt x="8330280" y="656558"/>
                  </a:lnTo>
                  <a:cubicBezTo>
                    <a:pt x="8334089" y="659035"/>
                    <a:pt x="8337709" y="661892"/>
                    <a:pt x="8340948" y="665131"/>
                  </a:cubicBezTo>
                  <a:cubicBezTo>
                    <a:pt x="8356569" y="677227"/>
                    <a:pt x="8373714" y="683324"/>
                    <a:pt x="8392192" y="683324"/>
                  </a:cubicBezTo>
                  <a:cubicBezTo>
                    <a:pt x="8419242" y="683324"/>
                    <a:pt x="8440769" y="677323"/>
                    <a:pt x="8456866" y="665131"/>
                  </a:cubicBezTo>
                  <a:cubicBezTo>
                    <a:pt x="8472868" y="653034"/>
                    <a:pt x="8485537" y="637604"/>
                    <a:pt x="8494776" y="618649"/>
                  </a:cubicBezTo>
                  <a:cubicBezTo>
                    <a:pt x="8504206" y="599123"/>
                    <a:pt x="8510397" y="578263"/>
                    <a:pt x="8512969" y="556736"/>
                  </a:cubicBezTo>
                  <a:cubicBezTo>
                    <a:pt x="8515826" y="534352"/>
                    <a:pt x="8517255" y="512826"/>
                    <a:pt x="8517255" y="492157"/>
                  </a:cubicBezTo>
                  <a:cubicBezTo>
                    <a:pt x="8517255" y="471487"/>
                    <a:pt x="8516017" y="450723"/>
                    <a:pt x="8513540" y="429673"/>
                  </a:cubicBezTo>
                  <a:cubicBezTo>
                    <a:pt x="8511445" y="410147"/>
                    <a:pt x="8506396" y="391097"/>
                    <a:pt x="8498586" y="373094"/>
                  </a:cubicBezTo>
                  <a:cubicBezTo>
                    <a:pt x="8491633" y="356997"/>
                    <a:pt x="8480774" y="342900"/>
                    <a:pt x="8467058" y="331946"/>
                  </a:cubicBezTo>
                  <a:cubicBezTo>
                    <a:pt x="8453533" y="321278"/>
                    <a:pt x="8435340" y="315944"/>
                    <a:pt x="8412575" y="315944"/>
                  </a:cubicBezTo>
                  <a:cubicBezTo>
                    <a:pt x="8400002" y="315754"/>
                    <a:pt x="8387525" y="318516"/>
                    <a:pt x="8376285" y="323945"/>
                  </a:cubicBezTo>
                  <a:moveTo>
                    <a:pt x="9050464" y="754856"/>
                  </a:moveTo>
                  <a:cubicBezTo>
                    <a:pt x="9046178" y="754856"/>
                    <a:pt x="9044083" y="752761"/>
                    <a:pt x="9044083" y="748474"/>
                  </a:cubicBezTo>
                  <a:lnTo>
                    <a:pt x="9044083" y="419576"/>
                  </a:lnTo>
                  <a:cubicBezTo>
                    <a:pt x="9044083" y="409670"/>
                    <a:pt x="9043511" y="399002"/>
                    <a:pt x="9042464" y="387572"/>
                  </a:cubicBezTo>
                  <a:cubicBezTo>
                    <a:pt x="9041511" y="376619"/>
                    <a:pt x="9038654" y="365950"/>
                    <a:pt x="9033891" y="356045"/>
                  </a:cubicBezTo>
                  <a:cubicBezTo>
                    <a:pt x="9029224" y="346329"/>
                    <a:pt x="9022270" y="337947"/>
                    <a:pt x="9013603" y="331470"/>
                  </a:cubicBezTo>
                  <a:cubicBezTo>
                    <a:pt x="9004649" y="324707"/>
                    <a:pt x="8992076" y="321278"/>
                    <a:pt x="8975693" y="321278"/>
                  </a:cubicBezTo>
                  <a:cubicBezTo>
                    <a:pt x="8963596" y="321278"/>
                    <a:pt x="8952166" y="323088"/>
                    <a:pt x="8941498" y="326612"/>
                  </a:cubicBezTo>
                  <a:cubicBezTo>
                    <a:pt x="8922544" y="332803"/>
                    <a:pt x="8904923" y="342614"/>
                    <a:pt x="8889682" y="355473"/>
                  </a:cubicBezTo>
                  <a:cubicBezTo>
                    <a:pt x="8882920" y="361188"/>
                    <a:pt x="8877395" y="365855"/>
                    <a:pt x="8873109" y="369379"/>
                  </a:cubicBezTo>
                  <a:lnTo>
                    <a:pt x="8873109" y="748474"/>
                  </a:lnTo>
                  <a:cubicBezTo>
                    <a:pt x="8873109" y="752761"/>
                    <a:pt x="8871014" y="754856"/>
                    <a:pt x="8866727" y="754856"/>
                  </a:cubicBezTo>
                  <a:lnTo>
                    <a:pt x="8761000" y="754856"/>
                  </a:lnTo>
                  <a:cubicBezTo>
                    <a:pt x="8756714" y="754856"/>
                    <a:pt x="8754618" y="752761"/>
                    <a:pt x="8754618" y="748474"/>
                  </a:cubicBezTo>
                  <a:lnTo>
                    <a:pt x="8754618" y="425958"/>
                  </a:lnTo>
                  <a:cubicBezTo>
                    <a:pt x="8754618" y="387477"/>
                    <a:pt x="8753570" y="358331"/>
                    <a:pt x="8751380" y="338423"/>
                  </a:cubicBezTo>
                  <a:cubicBezTo>
                    <a:pt x="8749284" y="318516"/>
                    <a:pt x="8746712" y="303562"/>
                    <a:pt x="8743855" y="293561"/>
                  </a:cubicBezTo>
                  <a:cubicBezTo>
                    <a:pt x="8742712" y="289084"/>
                    <a:pt x="8741473" y="284607"/>
                    <a:pt x="8740140" y="280225"/>
                  </a:cubicBezTo>
                  <a:cubicBezTo>
                    <a:pt x="8739092" y="277082"/>
                    <a:pt x="8737854" y="274034"/>
                    <a:pt x="8736425" y="271177"/>
                  </a:cubicBezTo>
                  <a:cubicBezTo>
                    <a:pt x="8735092" y="268129"/>
                    <a:pt x="8734711" y="264795"/>
                    <a:pt x="8735377" y="261557"/>
                  </a:cubicBezTo>
                  <a:cubicBezTo>
                    <a:pt x="8735377" y="259461"/>
                    <a:pt x="8736806" y="257651"/>
                    <a:pt x="8739664" y="256223"/>
                  </a:cubicBezTo>
                  <a:lnTo>
                    <a:pt x="8820817" y="229553"/>
                  </a:lnTo>
                  <a:cubicBezTo>
                    <a:pt x="8824436" y="228124"/>
                    <a:pt x="8827770" y="227076"/>
                    <a:pt x="8831009" y="226314"/>
                  </a:cubicBezTo>
                  <a:cubicBezTo>
                    <a:pt x="8834247" y="225647"/>
                    <a:pt x="8836533" y="226314"/>
                    <a:pt x="8837962" y="228410"/>
                  </a:cubicBezTo>
                  <a:cubicBezTo>
                    <a:pt x="8841581" y="232696"/>
                    <a:pt x="8845201" y="240125"/>
                    <a:pt x="8849201" y="250793"/>
                  </a:cubicBezTo>
                  <a:cubicBezTo>
                    <a:pt x="8853107" y="261461"/>
                    <a:pt x="8857869" y="280321"/>
                    <a:pt x="8863584" y="307372"/>
                  </a:cubicBezTo>
                  <a:cubicBezTo>
                    <a:pt x="8872824" y="299561"/>
                    <a:pt x="8880157" y="293179"/>
                    <a:pt x="8885491" y="288131"/>
                  </a:cubicBezTo>
                  <a:cubicBezTo>
                    <a:pt x="8890540" y="283369"/>
                    <a:pt x="8895779" y="278797"/>
                    <a:pt x="8901017" y="274225"/>
                  </a:cubicBezTo>
                  <a:cubicBezTo>
                    <a:pt x="8919305" y="259175"/>
                    <a:pt x="8939879" y="247078"/>
                    <a:pt x="8961882" y="238411"/>
                  </a:cubicBezTo>
                  <a:cubicBezTo>
                    <a:pt x="8984456" y="230029"/>
                    <a:pt x="9008364" y="225838"/>
                    <a:pt x="9032367" y="226124"/>
                  </a:cubicBezTo>
                  <a:cubicBezTo>
                    <a:pt x="9046655" y="226124"/>
                    <a:pt x="9061418" y="228124"/>
                    <a:pt x="9076658" y="232029"/>
                  </a:cubicBezTo>
                  <a:cubicBezTo>
                    <a:pt x="9092184" y="236029"/>
                    <a:pt x="9106567" y="243554"/>
                    <a:pt x="9118854" y="253936"/>
                  </a:cubicBezTo>
                  <a:cubicBezTo>
                    <a:pt x="9131713" y="264604"/>
                    <a:pt x="9142190" y="279559"/>
                    <a:pt x="9150382" y="298799"/>
                  </a:cubicBezTo>
                  <a:cubicBezTo>
                    <a:pt x="9158574" y="318040"/>
                    <a:pt x="9162669" y="342995"/>
                    <a:pt x="9162669" y="373570"/>
                  </a:cubicBezTo>
                  <a:lnTo>
                    <a:pt x="9162669" y="748379"/>
                  </a:lnTo>
                  <a:cubicBezTo>
                    <a:pt x="9162669" y="752666"/>
                    <a:pt x="9160573" y="754761"/>
                    <a:pt x="9156287" y="754761"/>
                  </a:cubicBezTo>
                  <a:lnTo>
                    <a:pt x="9050560" y="754761"/>
                  </a:lnTo>
                  <a:close/>
                  <a:moveTo>
                    <a:pt x="9358312" y="754856"/>
                  </a:moveTo>
                  <a:cubicBezTo>
                    <a:pt x="9354026" y="754856"/>
                    <a:pt x="9351931" y="752761"/>
                    <a:pt x="9351931" y="748474"/>
                  </a:cubicBezTo>
                  <a:lnTo>
                    <a:pt x="9351931" y="326707"/>
                  </a:lnTo>
                  <a:lnTo>
                    <a:pt x="9261157" y="326707"/>
                  </a:lnTo>
                  <a:cubicBezTo>
                    <a:pt x="9256871" y="326707"/>
                    <a:pt x="9254776" y="324612"/>
                    <a:pt x="9254776" y="320326"/>
                  </a:cubicBezTo>
                  <a:lnTo>
                    <a:pt x="9254776" y="250889"/>
                  </a:lnTo>
                  <a:cubicBezTo>
                    <a:pt x="9254776" y="246602"/>
                    <a:pt x="9256871" y="244507"/>
                    <a:pt x="9261157" y="244507"/>
                  </a:cubicBezTo>
                  <a:lnTo>
                    <a:pt x="9464135" y="244507"/>
                  </a:lnTo>
                  <a:cubicBezTo>
                    <a:pt x="9468421" y="244507"/>
                    <a:pt x="9470517" y="246602"/>
                    <a:pt x="9470517" y="250889"/>
                  </a:cubicBezTo>
                  <a:lnTo>
                    <a:pt x="9470517" y="748474"/>
                  </a:lnTo>
                  <a:cubicBezTo>
                    <a:pt x="9470517" y="752761"/>
                    <a:pt x="9468421" y="754856"/>
                    <a:pt x="9464135" y="754856"/>
                  </a:cubicBezTo>
                  <a:lnTo>
                    <a:pt x="9358408" y="754856"/>
                  </a:lnTo>
                  <a:close/>
                  <a:moveTo>
                    <a:pt x="9545288" y="93345"/>
                  </a:moveTo>
                  <a:cubicBezTo>
                    <a:pt x="9543288" y="93631"/>
                    <a:pt x="9541383" y="94583"/>
                    <a:pt x="9539954" y="96012"/>
                  </a:cubicBezTo>
                  <a:lnTo>
                    <a:pt x="9351931" y="170783"/>
                  </a:lnTo>
                  <a:cubicBezTo>
                    <a:pt x="9350216" y="171640"/>
                    <a:pt x="9348407" y="172307"/>
                    <a:pt x="9346597" y="172879"/>
                  </a:cubicBezTo>
                  <a:cubicBezTo>
                    <a:pt x="9344501" y="173545"/>
                    <a:pt x="9342311" y="173927"/>
                    <a:pt x="9340215" y="173927"/>
                  </a:cubicBezTo>
                  <a:cubicBezTo>
                    <a:pt x="9338120" y="173927"/>
                    <a:pt x="9336786" y="172879"/>
                    <a:pt x="9336500" y="170688"/>
                  </a:cubicBezTo>
                  <a:cubicBezTo>
                    <a:pt x="9335929" y="168116"/>
                    <a:pt x="9335071" y="165544"/>
                    <a:pt x="9333833" y="163258"/>
                  </a:cubicBezTo>
                  <a:lnTo>
                    <a:pt x="9316784" y="129064"/>
                  </a:lnTo>
                  <a:lnTo>
                    <a:pt x="9314116" y="123730"/>
                  </a:lnTo>
                  <a:cubicBezTo>
                    <a:pt x="9313164" y="122111"/>
                    <a:pt x="9312688" y="120301"/>
                    <a:pt x="9312497" y="118396"/>
                  </a:cubicBezTo>
                  <a:cubicBezTo>
                    <a:pt x="9312497" y="116300"/>
                    <a:pt x="9313355" y="114872"/>
                    <a:pt x="9315164" y="114110"/>
                  </a:cubicBezTo>
                  <a:cubicBezTo>
                    <a:pt x="9317545" y="113157"/>
                    <a:pt x="9319832" y="112109"/>
                    <a:pt x="9322118" y="110871"/>
                  </a:cubicBezTo>
                  <a:lnTo>
                    <a:pt x="9496234" y="8382"/>
                  </a:lnTo>
                  <a:cubicBezTo>
                    <a:pt x="9497663" y="7715"/>
                    <a:pt x="9499473" y="6572"/>
                    <a:pt x="9501568" y="5144"/>
                  </a:cubicBezTo>
                  <a:cubicBezTo>
                    <a:pt x="9503093" y="3905"/>
                    <a:pt x="9504998" y="3239"/>
                    <a:pt x="9506902" y="3048"/>
                  </a:cubicBezTo>
                  <a:cubicBezTo>
                    <a:pt x="9508331" y="3048"/>
                    <a:pt x="9509379" y="3715"/>
                    <a:pt x="9510141" y="5144"/>
                  </a:cubicBezTo>
                  <a:cubicBezTo>
                    <a:pt x="9510712" y="6096"/>
                    <a:pt x="9511093" y="7239"/>
                    <a:pt x="9511189" y="8382"/>
                  </a:cubicBezTo>
                  <a:cubicBezTo>
                    <a:pt x="9512427" y="10001"/>
                    <a:pt x="9513570" y="11811"/>
                    <a:pt x="9514427" y="13716"/>
                  </a:cubicBezTo>
                  <a:lnTo>
                    <a:pt x="9547574" y="78867"/>
                  </a:lnTo>
                  <a:lnTo>
                    <a:pt x="9550241" y="84201"/>
                  </a:lnTo>
                  <a:cubicBezTo>
                    <a:pt x="9551194" y="85820"/>
                    <a:pt x="9551670" y="87630"/>
                    <a:pt x="9551861" y="89535"/>
                  </a:cubicBezTo>
                  <a:cubicBezTo>
                    <a:pt x="9551861" y="90202"/>
                    <a:pt x="9551480" y="90583"/>
                    <a:pt x="9550813" y="90583"/>
                  </a:cubicBezTo>
                  <a:cubicBezTo>
                    <a:pt x="9549384" y="92011"/>
                    <a:pt x="9547479" y="92964"/>
                    <a:pt x="9545479" y="93250"/>
                  </a:cubicBezTo>
                  <a:lnTo>
                    <a:pt x="9545479" y="93250"/>
                  </a:lnTo>
                  <a:close/>
                  <a:moveTo>
                    <a:pt x="5899309" y="1841564"/>
                  </a:moveTo>
                  <a:cubicBezTo>
                    <a:pt x="5866162" y="1830896"/>
                    <a:pt x="5839301" y="1818418"/>
                    <a:pt x="5818632" y="1804225"/>
                  </a:cubicBezTo>
                  <a:cubicBezTo>
                    <a:pt x="5816918" y="1802701"/>
                    <a:pt x="5815489" y="1800892"/>
                    <a:pt x="5814346" y="1798892"/>
                  </a:cubicBezTo>
                  <a:cubicBezTo>
                    <a:pt x="5813679" y="1797367"/>
                    <a:pt x="5813679" y="1795653"/>
                    <a:pt x="5814346" y="1794129"/>
                  </a:cubicBezTo>
                  <a:cubicBezTo>
                    <a:pt x="5815013" y="1792319"/>
                    <a:pt x="5815775" y="1790414"/>
                    <a:pt x="5816442" y="1788224"/>
                  </a:cubicBezTo>
                  <a:cubicBezTo>
                    <a:pt x="5817870" y="1783937"/>
                    <a:pt x="5818537" y="1782223"/>
                    <a:pt x="5818537" y="1782890"/>
                  </a:cubicBezTo>
                  <a:lnTo>
                    <a:pt x="5839873" y="1728407"/>
                  </a:lnTo>
                  <a:cubicBezTo>
                    <a:pt x="5841302" y="1725549"/>
                    <a:pt x="5842730" y="1724120"/>
                    <a:pt x="5844159" y="1724120"/>
                  </a:cubicBezTo>
                  <a:cubicBezTo>
                    <a:pt x="5845493" y="1724692"/>
                    <a:pt x="5846921" y="1724977"/>
                    <a:pt x="5848446" y="1725168"/>
                  </a:cubicBezTo>
                  <a:cubicBezTo>
                    <a:pt x="5856256" y="1728692"/>
                    <a:pt x="5863400" y="1731740"/>
                    <a:pt x="5869781" y="1734217"/>
                  </a:cubicBezTo>
                  <a:cubicBezTo>
                    <a:pt x="5876163" y="1736693"/>
                    <a:pt x="5883688" y="1739741"/>
                    <a:pt x="5892260" y="1743266"/>
                  </a:cubicBezTo>
                  <a:cubicBezTo>
                    <a:pt x="5906548" y="1748981"/>
                    <a:pt x="5922740" y="1754505"/>
                    <a:pt x="5940838" y="1759839"/>
                  </a:cubicBezTo>
                  <a:cubicBezTo>
                    <a:pt x="5959031" y="1765173"/>
                    <a:pt x="5977033" y="1767840"/>
                    <a:pt x="5994749" y="1767840"/>
                  </a:cubicBezTo>
                  <a:cubicBezTo>
                    <a:pt x="6012466" y="1767840"/>
                    <a:pt x="6030183" y="1763268"/>
                    <a:pt x="6045518" y="1753933"/>
                  </a:cubicBezTo>
                  <a:cubicBezTo>
                    <a:pt x="6060853" y="1744694"/>
                    <a:pt x="6068473" y="1728692"/>
                    <a:pt x="6068473" y="1705927"/>
                  </a:cubicBezTo>
                  <a:cubicBezTo>
                    <a:pt x="6068473" y="1687449"/>
                    <a:pt x="6061710" y="1673162"/>
                    <a:pt x="6048185" y="1663256"/>
                  </a:cubicBezTo>
                  <a:cubicBezTo>
                    <a:pt x="6033992" y="1652873"/>
                    <a:pt x="6018562" y="1644301"/>
                    <a:pt x="6002274" y="1637633"/>
                  </a:cubicBezTo>
                  <a:cubicBezTo>
                    <a:pt x="5983224" y="1629823"/>
                    <a:pt x="5963698" y="1622870"/>
                    <a:pt x="5944076" y="1616774"/>
                  </a:cubicBezTo>
                  <a:cubicBezTo>
                    <a:pt x="5924455" y="1610677"/>
                    <a:pt x="5905786" y="1601533"/>
                    <a:pt x="5889022" y="1589532"/>
                  </a:cubicBezTo>
                  <a:cubicBezTo>
                    <a:pt x="5874068" y="1579531"/>
                    <a:pt x="5860543" y="1565720"/>
                    <a:pt x="5848446" y="1547908"/>
                  </a:cubicBezTo>
                  <a:cubicBezTo>
                    <a:pt x="5836349" y="1530096"/>
                    <a:pt x="5830253" y="1506283"/>
                    <a:pt x="5830253" y="1476375"/>
                  </a:cubicBezTo>
                  <a:cubicBezTo>
                    <a:pt x="5830253" y="1453610"/>
                    <a:pt x="5834539" y="1432084"/>
                    <a:pt x="5843112" y="1411796"/>
                  </a:cubicBezTo>
                  <a:cubicBezTo>
                    <a:pt x="5851398" y="1391983"/>
                    <a:pt x="5863590" y="1373981"/>
                    <a:pt x="5878926" y="1358932"/>
                  </a:cubicBezTo>
                  <a:cubicBezTo>
                    <a:pt x="5895118" y="1343406"/>
                    <a:pt x="5914454" y="1331405"/>
                    <a:pt x="5935504" y="1323689"/>
                  </a:cubicBezTo>
                  <a:cubicBezTo>
                    <a:pt x="5957983" y="1315117"/>
                    <a:pt x="5983034" y="1310831"/>
                    <a:pt x="6010847" y="1310831"/>
                  </a:cubicBezTo>
                  <a:cubicBezTo>
                    <a:pt x="6041422" y="1310831"/>
                    <a:pt x="6071330" y="1314926"/>
                    <a:pt x="6100572" y="1323118"/>
                  </a:cubicBezTo>
                  <a:cubicBezTo>
                    <a:pt x="6129814" y="1331309"/>
                    <a:pt x="6151531" y="1339691"/>
                    <a:pt x="6165723" y="1348168"/>
                  </a:cubicBezTo>
                  <a:cubicBezTo>
                    <a:pt x="6168581" y="1349597"/>
                    <a:pt x="6169343" y="1352836"/>
                    <a:pt x="6167819" y="1357789"/>
                  </a:cubicBezTo>
                  <a:cubicBezTo>
                    <a:pt x="6167152" y="1359122"/>
                    <a:pt x="6166580" y="1360551"/>
                    <a:pt x="6166199" y="1362075"/>
                  </a:cubicBezTo>
                  <a:cubicBezTo>
                    <a:pt x="6165819" y="1363599"/>
                    <a:pt x="6165247" y="1365028"/>
                    <a:pt x="6164580" y="1366361"/>
                  </a:cubicBezTo>
                  <a:cubicBezTo>
                    <a:pt x="6158865" y="1380649"/>
                    <a:pt x="6154103" y="1391793"/>
                    <a:pt x="6150198" y="1399984"/>
                  </a:cubicBezTo>
                  <a:cubicBezTo>
                    <a:pt x="6146387" y="1407795"/>
                    <a:pt x="6143054" y="1415796"/>
                    <a:pt x="6140006" y="1423988"/>
                  </a:cubicBezTo>
                  <a:cubicBezTo>
                    <a:pt x="6139339" y="1425416"/>
                    <a:pt x="6138196" y="1426083"/>
                    <a:pt x="6136768" y="1426083"/>
                  </a:cubicBezTo>
                  <a:lnTo>
                    <a:pt x="6135719" y="1426083"/>
                  </a:lnTo>
                  <a:cubicBezTo>
                    <a:pt x="6134291" y="1425416"/>
                    <a:pt x="6133624" y="1425416"/>
                    <a:pt x="6133624" y="1426083"/>
                  </a:cubicBezTo>
                  <a:lnTo>
                    <a:pt x="6131528" y="1425035"/>
                  </a:lnTo>
                  <a:cubicBezTo>
                    <a:pt x="6113050" y="1417225"/>
                    <a:pt x="6093905" y="1411129"/>
                    <a:pt x="6074378" y="1406842"/>
                  </a:cubicBezTo>
                  <a:cubicBezTo>
                    <a:pt x="6054948" y="1402556"/>
                    <a:pt x="6035040" y="1400461"/>
                    <a:pt x="6015038" y="1400461"/>
                  </a:cubicBezTo>
                  <a:cubicBezTo>
                    <a:pt x="5995035" y="1400461"/>
                    <a:pt x="5976080" y="1404938"/>
                    <a:pt x="5959983" y="1413796"/>
                  </a:cubicBezTo>
                  <a:cubicBezTo>
                    <a:pt x="5943981" y="1422654"/>
                    <a:pt x="5935980" y="1438180"/>
                    <a:pt x="5935980" y="1460278"/>
                  </a:cubicBezTo>
                  <a:cubicBezTo>
                    <a:pt x="5935980" y="1478090"/>
                    <a:pt x="5942362" y="1491615"/>
                    <a:pt x="5955220" y="1500854"/>
                  </a:cubicBezTo>
                  <a:cubicBezTo>
                    <a:pt x="5968080" y="1510093"/>
                    <a:pt x="5982653" y="1517523"/>
                    <a:pt x="5999036" y="1523238"/>
                  </a:cubicBezTo>
                  <a:cubicBezTo>
                    <a:pt x="6007608" y="1526762"/>
                    <a:pt x="6016467" y="1530001"/>
                    <a:pt x="6025706" y="1532858"/>
                  </a:cubicBezTo>
                  <a:cubicBezTo>
                    <a:pt x="6034945" y="1535716"/>
                    <a:pt x="6044565" y="1538954"/>
                    <a:pt x="6054567" y="1542479"/>
                  </a:cubicBezTo>
                  <a:cubicBezTo>
                    <a:pt x="6064568" y="1546003"/>
                    <a:pt x="6074378" y="1550099"/>
                    <a:pt x="6083903" y="1554766"/>
                  </a:cubicBezTo>
                  <a:cubicBezTo>
                    <a:pt x="6093524" y="1559433"/>
                    <a:pt x="6102953" y="1564958"/>
                    <a:pt x="6112193" y="1571339"/>
                  </a:cubicBezTo>
                  <a:cubicBezTo>
                    <a:pt x="6131719" y="1583817"/>
                    <a:pt x="6148388" y="1600391"/>
                    <a:pt x="6160770" y="1619917"/>
                  </a:cubicBezTo>
                  <a:cubicBezTo>
                    <a:pt x="6173248" y="1639538"/>
                    <a:pt x="6179439" y="1664208"/>
                    <a:pt x="6179439" y="1694117"/>
                  </a:cubicBezTo>
                  <a:cubicBezTo>
                    <a:pt x="6179439" y="1717643"/>
                    <a:pt x="6175534" y="1739360"/>
                    <a:pt x="6167724" y="1759267"/>
                  </a:cubicBezTo>
                  <a:cubicBezTo>
                    <a:pt x="6160199" y="1778794"/>
                    <a:pt x="6148483" y="1796415"/>
                    <a:pt x="6133529" y="1811083"/>
                  </a:cubicBezTo>
                  <a:cubicBezTo>
                    <a:pt x="6117812" y="1826228"/>
                    <a:pt x="6099048" y="1837849"/>
                    <a:pt x="6078474" y="1845278"/>
                  </a:cubicBezTo>
                  <a:cubicBezTo>
                    <a:pt x="6056757" y="1853470"/>
                    <a:pt x="6032373" y="1857566"/>
                    <a:pt x="6005322" y="1857566"/>
                  </a:cubicBezTo>
                  <a:cubicBezTo>
                    <a:pt x="5969223" y="1857851"/>
                    <a:pt x="5933408" y="1852422"/>
                    <a:pt x="5899023" y="1841564"/>
                  </a:cubicBezTo>
                  <a:moveTo>
                    <a:pt x="6489097" y="1854899"/>
                  </a:moveTo>
                  <a:cubicBezTo>
                    <a:pt x="6479572" y="1853375"/>
                    <a:pt x="6470143" y="1851470"/>
                    <a:pt x="6460808" y="1848993"/>
                  </a:cubicBezTo>
                  <a:cubicBezTo>
                    <a:pt x="6453092" y="1846421"/>
                    <a:pt x="6445568" y="1843278"/>
                    <a:pt x="6438329" y="1839373"/>
                  </a:cubicBezTo>
                  <a:cubicBezTo>
                    <a:pt x="6434709" y="1837944"/>
                    <a:pt x="6431185" y="1836325"/>
                    <a:pt x="6427661" y="1834610"/>
                  </a:cubicBezTo>
                  <a:cubicBezTo>
                    <a:pt x="6421184" y="1831276"/>
                    <a:pt x="6414802" y="1827943"/>
                    <a:pt x="6408420" y="1824418"/>
                  </a:cubicBezTo>
                  <a:lnTo>
                    <a:pt x="6408420" y="2033683"/>
                  </a:lnTo>
                  <a:cubicBezTo>
                    <a:pt x="6408420" y="2037207"/>
                    <a:pt x="6407658" y="2039588"/>
                    <a:pt x="6406325" y="2040636"/>
                  </a:cubicBezTo>
                  <a:cubicBezTo>
                    <a:pt x="6404896" y="2041684"/>
                    <a:pt x="6400991" y="2042922"/>
                    <a:pt x="6394609" y="2044351"/>
                  </a:cubicBezTo>
                  <a:lnTo>
                    <a:pt x="6305931" y="2062543"/>
                  </a:lnTo>
                  <a:cubicBezTo>
                    <a:pt x="6303455" y="2063306"/>
                    <a:pt x="6300978" y="2064067"/>
                    <a:pt x="6298406" y="2064639"/>
                  </a:cubicBezTo>
                  <a:cubicBezTo>
                    <a:pt x="6295549" y="2065306"/>
                    <a:pt x="6293453" y="2064925"/>
                    <a:pt x="6292025" y="2063591"/>
                  </a:cubicBezTo>
                  <a:cubicBezTo>
                    <a:pt x="6290596" y="2062163"/>
                    <a:pt x="6289929" y="2061115"/>
                    <a:pt x="6289929" y="2060353"/>
                  </a:cubicBezTo>
                  <a:lnTo>
                    <a:pt x="6289929" y="1510379"/>
                  </a:lnTo>
                  <a:cubicBezTo>
                    <a:pt x="6289929" y="1471898"/>
                    <a:pt x="6288881" y="1442752"/>
                    <a:pt x="6286691" y="1422845"/>
                  </a:cubicBezTo>
                  <a:cubicBezTo>
                    <a:pt x="6284595" y="1402937"/>
                    <a:pt x="6282024" y="1387983"/>
                    <a:pt x="6279166" y="1377982"/>
                  </a:cubicBezTo>
                  <a:cubicBezTo>
                    <a:pt x="6278023" y="1373505"/>
                    <a:pt x="6276785" y="1369028"/>
                    <a:pt x="6275452" y="1364647"/>
                  </a:cubicBezTo>
                  <a:cubicBezTo>
                    <a:pt x="6274403" y="1361504"/>
                    <a:pt x="6273165" y="1358456"/>
                    <a:pt x="6271737" y="1355598"/>
                  </a:cubicBezTo>
                  <a:cubicBezTo>
                    <a:pt x="6272403" y="1356265"/>
                    <a:pt x="6272117" y="1355026"/>
                    <a:pt x="6270689" y="1351883"/>
                  </a:cubicBezTo>
                  <a:cubicBezTo>
                    <a:pt x="6269260" y="1348740"/>
                    <a:pt x="6268879" y="1346359"/>
                    <a:pt x="6269641" y="1344930"/>
                  </a:cubicBezTo>
                  <a:cubicBezTo>
                    <a:pt x="6270308" y="1343501"/>
                    <a:pt x="6272117" y="1342073"/>
                    <a:pt x="6274975" y="1340644"/>
                  </a:cubicBezTo>
                  <a:lnTo>
                    <a:pt x="6356128" y="1313974"/>
                  </a:lnTo>
                  <a:cubicBezTo>
                    <a:pt x="6359748" y="1312545"/>
                    <a:pt x="6363081" y="1311592"/>
                    <a:pt x="6366320" y="1311307"/>
                  </a:cubicBezTo>
                  <a:cubicBezTo>
                    <a:pt x="6369558" y="1310926"/>
                    <a:pt x="6371844" y="1311497"/>
                    <a:pt x="6373273" y="1312926"/>
                  </a:cubicBezTo>
                  <a:cubicBezTo>
                    <a:pt x="6376892" y="1316450"/>
                    <a:pt x="6380607" y="1322737"/>
                    <a:pt x="6384512" y="1331595"/>
                  </a:cubicBezTo>
                  <a:cubicBezTo>
                    <a:pt x="6388418" y="1340453"/>
                    <a:pt x="6393180" y="1354169"/>
                    <a:pt x="6398895" y="1372743"/>
                  </a:cubicBezTo>
                  <a:cubicBezTo>
                    <a:pt x="6416517" y="1356836"/>
                    <a:pt x="6435661" y="1342739"/>
                    <a:pt x="6456045" y="1330547"/>
                  </a:cubicBezTo>
                  <a:cubicBezTo>
                    <a:pt x="6477762" y="1317403"/>
                    <a:pt x="6505766" y="1310831"/>
                    <a:pt x="6539865" y="1310831"/>
                  </a:cubicBezTo>
                  <a:cubicBezTo>
                    <a:pt x="6595396" y="1310831"/>
                    <a:pt x="6638735" y="1332357"/>
                    <a:pt x="6669691" y="1375410"/>
                  </a:cubicBezTo>
                  <a:cubicBezTo>
                    <a:pt x="6700647" y="1418463"/>
                    <a:pt x="6716173" y="1484852"/>
                    <a:pt x="6716173" y="1574578"/>
                  </a:cubicBezTo>
                  <a:cubicBezTo>
                    <a:pt x="6716173" y="1664303"/>
                    <a:pt x="6701409" y="1738313"/>
                    <a:pt x="6671882" y="1786033"/>
                  </a:cubicBezTo>
                  <a:cubicBezTo>
                    <a:pt x="6642259" y="1833753"/>
                    <a:pt x="6594444" y="1857566"/>
                    <a:pt x="6528149" y="1857566"/>
                  </a:cubicBezTo>
                  <a:cubicBezTo>
                    <a:pt x="6513195" y="1857566"/>
                    <a:pt x="6500241" y="1856708"/>
                    <a:pt x="6489193" y="1854899"/>
                  </a:cubicBezTo>
                  <a:moveTo>
                    <a:pt x="6460236" y="1407985"/>
                  </a:moveTo>
                  <a:cubicBezTo>
                    <a:pt x="6447092" y="1413320"/>
                    <a:pt x="6434995" y="1420940"/>
                    <a:pt x="6424422" y="1430369"/>
                  </a:cubicBezTo>
                  <a:lnTo>
                    <a:pt x="6408420" y="1446371"/>
                  </a:lnTo>
                  <a:lnTo>
                    <a:pt x="6408420" y="1744313"/>
                  </a:lnTo>
                  <a:cubicBezTo>
                    <a:pt x="6419755" y="1751457"/>
                    <a:pt x="6431947" y="1757267"/>
                    <a:pt x="6444710" y="1761363"/>
                  </a:cubicBezTo>
                  <a:cubicBezTo>
                    <a:pt x="6457569" y="1765649"/>
                    <a:pt x="6474238" y="1767745"/>
                    <a:pt x="6494907" y="1767745"/>
                  </a:cubicBezTo>
                  <a:cubicBezTo>
                    <a:pt x="6515576" y="1767745"/>
                    <a:pt x="6533579" y="1763840"/>
                    <a:pt x="6546723" y="1756029"/>
                  </a:cubicBezTo>
                  <a:cubicBezTo>
                    <a:pt x="6559868" y="1748218"/>
                    <a:pt x="6570250" y="1736408"/>
                    <a:pt x="6577680" y="1720787"/>
                  </a:cubicBezTo>
                  <a:cubicBezTo>
                    <a:pt x="6585204" y="1705070"/>
                    <a:pt x="6590348" y="1685544"/>
                    <a:pt x="6593205" y="1662017"/>
                  </a:cubicBezTo>
                  <a:cubicBezTo>
                    <a:pt x="6596253" y="1634681"/>
                    <a:pt x="6597682" y="1607249"/>
                    <a:pt x="6597492" y="1579817"/>
                  </a:cubicBezTo>
                  <a:cubicBezTo>
                    <a:pt x="6597492" y="1552766"/>
                    <a:pt x="6596063" y="1528191"/>
                    <a:pt x="6593205" y="1506093"/>
                  </a:cubicBezTo>
                  <a:cubicBezTo>
                    <a:pt x="6590348" y="1483995"/>
                    <a:pt x="6585395" y="1465135"/>
                    <a:pt x="6578251" y="1449515"/>
                  </a:cubicBezTo>
                  <a:cubicBezTo>
                    <a:pt x="6571107" y="1433798"/>
                    <a:pt x="6561487" y="1421701"/>
                    <a:pt x="6549390" y="1413224"/>
                  </a:cubicBezTo>
                  <a:cubicBezTo>
                    <a:pt x="6537294" y="1404652"/>
                    <a:pt x="6521577" y="1400366"/>
                    <a:pt x="6502336" y="1400366"/>
                  </a:cubicBezTo>
                  <a:cubicBezTo>
                    <a:pt x="6486716" y="1400366"/>
                    <a:pt x="6472619" y="1402842"/>
                    <a:pt x="6460141" y="1407795"/>
                  </a:cubicBezTo>
                  <a:moveTo>
                    <a:pt x="6942773" y="1838325"/>
                  </a:moveTo>
                  <a:cubicBezTo>
                    <a:pt x="6915436" y="1825847"/>
                    <a:pt x="6891242" y="1807178"/>
                    <a:pt x="6872192" y="1783842"/>
                  </a:cubicBezTo>
                  <a:cubicBezTo>
                    <a:pt x="6852952" y="1760315"/>
                    <a:pt x="6838188" y="1731645"/>
                    <a:pt x="6827902" y="1697831"/>
                  </a:cubicBezTo>
                  <a:cubicBezTo>
                    <a:pt x="6817519" y="1664017"/>
                    <a:pt x="6812376" y="1626108"/>
                    <a:pt x="6812376" y="1584103"/>
                  </a:cubicBezTo>
                  <a:cubicBezTo>
                    <a:pt x="6812376" y="1542098"/>
                    <a:pt x="6817519" y="1504188"/>
                    <a:pt x="6827902" y="1470374"/>
                  </a:cubicBezTo>
                  <a:cubicBezTo>
                    <a:pt x="6838283" y="1436560"/>
                    <a:pt x="6853047" y="1407890"/>
                    <a:pt x="6872192" y="1384364"/>
                  </a:cubicBezTo>
                  <a:cubicBezTo>
                    <a:pt x="6891147" y="1361027"/>
                    <a:pt x="6915341" y="1342454"/>
                    <a:pt x="6942678" y="1329881"/>
                  </a:cubicBezTo>
                  <a:cubicBezTo>
                    <a:pt x="6970490" y="1317022"/>
                    <a:pt x="7001447" y="1310640"/>
                    <a:pt x="7035642" y="1310640"/>
                  </a:cubicBezTo>
                  <a:cubicBezTo>
                    <a:pt x="7069836" y="1310640"/>
                    <a:pt x="7100602" y="1317022"/>
                    <a:pt x="7128034" y="1329881"/>
                  </a:cubicBezTo>
                  <a:cubicBezTo>
                    <a:pt x="7155276" y="1342549"/>
                    <a:pt x="7179374" y="1361218"/>
                    <a:pt x="7198519" y="1384364"/>
                  </a:cubicBezTo>
                  <a:cubicBezTo>
                    <a:pt x="7218045" y="1407890"/>
                    <a:pt x="7232999" y="1436560"/>
                    <a:pt x="7243382" y="1470374"/>
                  </a:cubicBezTo>
                  <a:cubicBezTo>
                    <a:pt x="7253764" y="1504188"/>
                    <a:pt x="7258908" y="1542098"/>
                    <a:pt x="7258908" y="1584103"/>
                  </a:cubicBezTo>
                  <a:cubicBezTo>
                    <a:pt x="7258908" y="1626108"/>
                    <a:pt x="7253764" y="1664017"/>
                    <a:pt x="7243382" y="1697831"/>
                  </a:cubicBezTo>
                  <a:cubicBezTo>
                    <a:pt x="7232999" y="1731645"/>
                    <a:pt x="7218236" y="1760315"/>
                    <a:pt x="7199090" y="1783842"/>
                  </a:cubicBezTo>
                  <a:cubicBezTo>
                    <a:pt x="7180136" y="1807178"/>
                    <a:pt x="7155943" y="1825752"/>
                    <a:pt x="7128605" y="1838325"/>
                  </a:cubicBezTo>
                  <a:cubicBezTo>
                    <a:pt x="7100792" y="1851184"/>
                    <a:pt x="7069836" y="1857566"/>
                    <a:pt x="7035642" y="1857566"/>
                  </a:cubicBezTo>
                  <a:cubicBezTo>
                    <a:pt x="7001447" y="1857566"/>
                    <a:pt x="6970490" y="1851184"/>
                    <a:pt x="6942678" y="1838325"/>
                  </a:cubicBezTo>
                  <a:moveTo>
                    <a:pt x="6985445" y="1415415"/>
                  </a:moveTo>
                  <a:cubicBezTo>
                    <a:pt x="6972586" y="1425416"/>
                    <a:pt x="6962871" y="1438942"/>
                    <a:pt x="6956108" y="1455992"/>
                  </a:cubicBezTo>
                  <a:cubicBezTo>
                    <a:pt x="6948964" y="1474851"/>
                    <a:pt x="6944392" y="1494568"/>
                    <a:pt x="6942773" y="1514761"/>
                  </a:cubicBezTo>
                  <a:cubicBezTo>
                    <a:pt x="6940582" y="1537811"/>
                    <a:pt x="6939534" y="1561052"/>
                    <a:pt x="6939534" y="1584198"/>
                  </a:cubicBezTo>
                  <a:cubicBezTo>
                    <a:pt x="6939534" y="1608392"/>
                    <a:pt x="6940582" y="1631537"/>
                    <a:pt x="6942773" y="1653635"/>
                  </a:cubicBezTo>
                  <a:cubicBezTo>
                    <a:pt x="6944868" y="1675638"/>
                    <a:pt x="6949345" y="1695259"/>
                    <a:pt x="6956108" y="1712405"/>
                  </a:cubicBezTo>
                  <a:cubicBezTo>
                    <a:pt x="6962871" y="1729454"/>
                    <a:pt x="6972491" y="1743075"/>
                    <a:pt x="6984969" y="1752981"/>
                  </a:cubicBezTo>
                  <a:cubicBezTo>
                    <a:pt x="6997446" y="1762982"/>
                    <a:pt x="7014305" y="1767935"/>
                    <a:pt x="7035736" y="1767935"/>
                  </a:cubicBezTo>
                  <a:cubicBezTo>
                    <a:pt x="7057168" y="1767935"/>
                    <a:pt x="7074027" y="1762887"/>
                    <a:pt x="7086505" y="1752981"/>
                  </a:cubicBezTo>
                  <a:cubicBezTo>
                    <a:pt x="7098983" y="1743075"/>
                    <a:pt x="7108603" y="1729454"/>
                    <a:pt x="7115366" y="1712405"/>
                  </a:cubicBezTo>
                  <a:cubicBezTo>
                    <a:pt x="7122510" y="1693545"/>
                    <a:pt x="7127081" y="1673733"/>
                    <a:pt x="7128701" y="1653635"/>
                  </a:cubicBezTo>
                  <a:cubicBezTo>
                    <a:pt x="7130892" y="1630585"/>
                    <a:pt x="7131939" y="1607344"/>
                    <a:pt x="7131939" y="1584198"/>
                  </a:cubicBezTo>
                  <a:cubicBezTo>
                    <a:pt x="7131939" y="1560005"/>
                    <a:pt x="7130892" y="1536859"/>
                    <a:pt x="7128701" y="1514761"/>
                  </a:cubicBezTo>
                  <a:cubicBezTo>
                    <a:pt x="7126986" y="1494663"/>
                    <a:pt x="7122510" y="1474851"/>
                    <a:pt x="7115366" y="1455992"/>
                  </a:cubicBezTo>
                  <a:cubicBezTo>
                    <a:pt x="7108603" y="1438942"/>
                    <a:pt x="7098793" y="1425416"/>
                    <a:pt x="7086029" y="1415415"/>
                  </a:cubicBezTo>
                  <a:cubicBezTo>
                    <a:pt x="7073170" y="1405509"/>
                    <a:pt x="7056406" y="1400461"/>
                    <a:pt x="7035832" y="1400461"/>
                  </a:cubicBezTo>
                  <a:cubicBezTo>
                    <a:pt x="7015258" y="1400461"/>
                    <a:pt x="6998399" y="1405509"/>
                    <a:pt x="6985635" y="1415415"/>
                  </a:cubicBezTo>
                  <a:moveTo>
                    <a:pt x="7637812" y="1423988"/>
                  </a:moveTo>
                  <a:cubicBezTo>
                    <a:pt x="7637812" y="1425416"/>
                    <a:pt x="7637527" y="1426083"/>
                    <a:pt x="7636764" y="1426083"/>
                  </a:cubicBezTo>
                  <a:cubicBezTo>
                    <a:pt x="7636098" y="1426083"/>
                    <a:pt x="7635717" y="1426369"/>
                    <a:pt x="7635717" y="1427131"/>
                  </a:cubicBezTo>
                  <a:lnTo>
                    <a:pt x="7633621" y="1427131"/>
                  </a:lnTo>
                  <a:cubicBezTo>
                    <a:pt x="7632097" y="1426369"/>
                    <a:pt x="7630478" y="1425702"/>
                    <a:pt x="7628858" y="1425035"/>
                  </a:cubicBezTo>
                  <a:cubicBezTo>
                    <a:pt x="7626573" y="1424178"/>
                    <a:pt x="7624287" y="1423416"/>
                    <a:pt x="7621905" y="1422940"/>
                  </a:cubicBezTo>
                  <a:cubicBezTo>
                    <a:pt x="7616952" y="1421321"/>
                    <a:pt x="7611999" y="1419892"/>
                    <a:pt x="7606951" y="1418654"/>
                  </a:cubicBezTo>
                  <a:cubicBezTo>
                    <a:pt x="7600664" y="1417225"/>
                    <a:pt x="7594187" y="1416463"/>
                    <a:pt x="7587710" y="1416558"/>
                  </a:cubicBezTo>
                  <a:cubicBezTo>
                    <a:pt x="7579138" y="1416558"/>
                    <a:pt x="7570470" y="1418654"/>
                    <a:pt x="7561517" y="1422940"/>
                  </a:cubicBezTo>
                  <a:cubicBezTo>
                    <a:pt x="7552563" y="1427226"/>
                    <a:pt x="7543991" y="1432179"/>
                    <a:pt x="7535894" y="1437894"/>
                  </a:cubicBezTo>
                  <a:cubicBezTo>
                    <a:pt x="7527989" y="1443323"/>
                    <a:pt x="7520655" y="1449610"/>
                    <a:pt x="7513987" y="1456563"/>
                  </a:cubicBezTo>
                  <a:cubicBezTo>
                    <a:pt x="7507605" y="1463326"/>
                    <a:pt x="7502271" y="1468850"/>
                    <a:pt x="7497985" y="1473137"/>
                  </a:cubicBezTo>
                  <a:lnTo>
                    <a:pt x="7497985" y="1832991"/>
                  </a:lnTo>
                  <a:cubicBezTo>
                    <a:pt x="7497985" y="1837277"/>
                    <a:pt x="7495889" y="1839373"/>
                    <a:pt x="7491603" y="1839373"/>
                  </a:cubicBezTo>
                  <a:lnTo>
                    <a:pt x="7385876" y="1839373"/>
                  </a:lnTo>
                  <a:cubicBezTo>
                    <a:pt x="7381589" y="1839373"/>
                    <a:pt x="7379494" y="1837277"/>
                    <a:pt x="7379494" y="1832991"/>
                  </a:cubicBezTo>
                  <a:lnTo>
                    <a:pt x="7379494" y="1510475"/>
                  </a:lnTo>
                  <a:cubicBezTo>
                    <a:pt x="7379494" y="1480566"/>
                    <a:pt x="7378065" y="1456563"/>
                    <a:pt x="7375208" y="1438370"/>
                  </a:cubicBezTo>
                  <a:cubicBezTo>
                    <a:pt x="7373017" y="1423035"/>
                    <a:pt x="7369778" y="1407890"/>
                    <a:pt x="7365587" y="1393031"/>
                  </a:cubicBezTo>
                  <a:cubicBezTo>
                    <a:pt x="7364254" y="1387792"/>
                    <a:pt x="7362730" y="1382649"/>
                    <a:pt x="7360825" y="1377506"/>
                  </a:cubicBezTo>
                  <a:cubicBezTo>
                    <a:pt x="7359301" y="1373410"/>
                    <a:pt x="7357682" y="1369314"/>
                    <a:pt x="7356062" y="1365218"/>
                  </a:cubicBezTo>
                  <a:cubicBezTo>
                    <a:pt x="7353205" y="1359503"/>
                    <a:pt x="7351777" y="1354836"/>
                    <a:pt x="7351777" y="1351312"/>
                  </a:cubicBezTo>
                  <a:cubicBezTo>
                    <a:pt x="7351777" y="1349883"/>
                    <a:pt x="7353205" y="1348454"/>
                    <a:pt x="7356062" y="1347025"/>
                  </a:cubicBezTo>
                  <a:lnTo>
                    <a:pt x="7436168" y="1315022"/>
                  </a:lnTo>
                  <a:cubicBezTo>
                    <a:pt x="7437596" y="1314355"/>
                    <a:pt x="7438835" y="1313783"/>
                    <a:pt x="7439883" y="1313402"/>
                  </a:cubicBezTo>
                  <a:cubicBezTo>
                    <a:pt x="7441120" y="1312926"/>
                    <a:pt x="7442454" y="1312450"/>
                    <a:pt x="7443597" y="1311783"/>
                  </a:cubicBezTo>
                  <a:cubicBezTo>
                    <a:pt x="7445026" y="1311116"/>
                    <a:pt x="7447503" y="1311783"/>
                    <a:pt x="7451122" y="1313879"/>
                  </a:cubicBezTo>
                  <a:cubicBezTo>
                    <a:pt x="7454742" y="1317403"/>
                    <a:pt x="7459790" y="1327404"/>
                    <a:pt x="7466648" y="1343787"/>
                  </a:cubicBezTo>
                  <a:cubicBezTo>
                    <a:pt x="7473410" y="1360170"/>
                    <a:pt x="7478554" y="1381125"/>
                    <a:pt x="7482174" y="1406747"/>
                  </a:cubicBezTo>
                  <a:cubicBezTo>
                    <a:pt x="7490746" y="1396079"/>
                    <a:pt x="7497128" y="1388269"/>
                    <a:pt x="7501414" y="1383221"/>
                  </a:cubicBezTo>
                  <a:cubicBezTo>
                    <a:pt x="7505700" y="1378172"/>
                    <a:pt x="7509605" y="1373315"/>
                    <a:pt x="7513130" y="1368266"/>
                  </a:cubicBezTo>
                  <a:cubicBezTo>
                    <a:pt x="7527418" y="1351883"/>
                    <a:pt x="7543038" y="1338167"/>
                    <a:pt x="7560183" y="1327118"/>
                  </a:cubicBezTo>
                  <a:cubicBezTo>
                    <a:pt x="7577233" y="1316069"/>
                    <a:pt x="7597235" y="1310545"/>
                    <a:pt x="7620000" y="1310545"/>
                  </a:cubicBezTo>
                  <a:cubicBezTo>
                    <a:pt x="7632859" y="1310545"/>
                    <a:pt x="7643527" y="1312164"/>
                    <a:pt x="7652004" y="1315307"/>
                  </a:cubicBezTo>
                  <a:cubicBezTo>
                    <a:pt x="7660481" y="1318450"/>
                    <a:pt x="7666578" y="1321880"/>
                    <a:pt x="7670197" y="1325499"/>
                  </a:cubicBezTo>
                  <a:cubicBezTo>
                    <a:pt x="7673055" y="1329023"/>
                    <a:pt x="7673055" y="1333309"/>
                    <a:pt x="7670197" y="1338358"/>
                  </a:cubicBezTo>
                  <a:lnTo>
                    <a:pt x="7638193" y="1423797"/>
                  </a:lnTo>
                  <a:lnTo>
                    <a:pt x="7638193" y="1423797"/>
                  </a:lnTo>
                  <a:close/>
                  <a:moveTo>
                    <a:pt x="7654385" y="1153858"/>
                  </a:moveTo>
                  <a:cubicBezTo>
                    <a:pt x="7653052" y="1154811"/>
                    <a:pt x="7651814" y="1155859"/>
                    <a:pt x="7650670" y="1157097"/>
                  </a:cubicBezTo>
                  <a:lnTo>
                    <a:pt x="7529989" y="1252157"/>
                  </a:lnTo>
                  <a:cubicBezTo>
                    <a:pt x="7528179" y="1253109"/>
                    <a:pt x="7526560" y="1254442"/>
                    <a:pt x="7525226" y="1255871"/>
                  </a:cubicBezTo>
                  <a:cubicBezTo>
                    <a:pt x="7523417" y="1257681"/>
                    <a:pt x="7521798" y="1258538"/>
                    <a:pt x="7520464" y="1258538"/>
                  </a:cubicBezTo>
                  <a:cubicBezTo>
                    <a:pt x="7519130" y="1258538"/>
                    <a:pt x="7517226" y="1257681"/>
                    <a:pt x="7515130" y="1255871"/>
                  </a:cubicBezTo>
                  <a:cubicBezTo>
                    <a:pt x="7513702" y="1254728"/>
                    <a:pt x="7512273" y="1253395"/>
                    <a:pt x="7510844" y="1252157"/>
                  </a:cubicBezTo>
                  <a:lnTo>
                    <a:pt x="7390162" y="1157097"/>
                  </a:lnTo>
                  <a:cubicBezTo>
                    <a:pt x="7389019" y="1155954"/>
                    <a:pt x="7387781" y="1154811"/>
                    <a:pt x="7386447" y="1153858"/>
                  </a:cubicBezTo>
                  <a:cubicBezTo>
                    <a:pt x="7384352" y="1152239"/>
                    <a:pt x="7382351" y="1150430"/>
                    <a:pt x="7380542" y="1148525"/>
                  </a:cubicBezTo>
                  <a:cubicBezTo>
                    <a:pt x="7380542" y="1147096"/>
                    <a:pt x="7381208" y="1145286"/>
                    <a:pt x="7382637" y="1143191"/>
                  </a:cubicBezTo>
                  <a:cubicBezTo>
                    <a:pt x="7384066" y="1141095"/>
                    <a:pt x="7385114" y="1139285"/>
                    <a:pt x="7385876" y="1137857"/>
                  </a:cubicBezTo>
                  <a:lnTo>
                    <a:pt x="7406164" y="1103662"/>
                  </a:lnTo>
                  <a:cubicBezTo>
                    <a:pt x="7409783" y="1097280"/>
                    <a:pt x="7412165" y="1094042"/>
                    <a:pt x="7413689" y="1094042"/>
                  </a:cubicBezTo>
                  <a:cubicBezTo>
                    <a:pt x="7415213" y="1094042"/>
                    <a:pt x="7416927" y="1094804"/>
                    <a:pt x="7419023" y="1096137"/>
                  </a:cubicBezTo>
                  <a:cubicBezTo>
                    <a:pt x="7421118" y="1097566"/>
                    <a:pt x="7422928" y="1098614"/>
                    <a:pt x="7424357" y="1099375"/>
                  </a:cubicBezTo>
                  <a:lnTo>
                    <a:pt x="7520464" y="1153858"/>
                  </a:lnTo>
                  <a:lnTo>
                    <a:pt x="7616571" y="1099375"/>
                  </a:lnTo>
                  <a:cubicBezTo>
                    <a:pt x="7618000" y="1098709"/>
                    <a:pt x="7619810" y="1097566"/>
                    <a:pt x="7621905" y="1096137"/>
                  </a:cubicBezTo>
                  <a:cubicBezTo>
                    <a:pt x="7623429" y="1094994"/>
                    <a:pt x="7625334" y="1094232"/>
                    <a:pt x="7627239" y="1094042"/>
                  </a:cubicBezTo>
                  <a:cubicBezTo>
                    <a:pt x="7628668" y="1094042"/>
                    <a:pt x="7631144" y="1097280"/>
                    <a:pt x="7634764" y="1103662"/>
                  </a:cubicBezTo>
                  <a:lnTo>
                    <a:pt x="7655052" y="1137857"/>
                  </a:lnTo>
                  <a:cubicBezTo>
                    <a:pt x="7655719" y="1139285"/>
                    <a:pt x="7656862" y="1141095"/>
                    <a:pt x="7658291" y="1143191"/>
                  </a:cubicBezTo>
                  <a:cubicBezTo>
                    <a:pt x="7659529" y="1144715"/>
                    <a:pt x="7660195" y="1146620"/>
                    <a:pt x="7660386" y="1148525"/>
                  </a:cubicBezTo>
                  <a:lnTo>
                    <a:pt x="7658291" y="1150620"/>
                  </a:lnTo>
                  <a:cubicBezTo>
                    <a:pt x="7657148" y="1151763"/>
                    <a:pt x="7655910" y="1152906"/>
                    <a:pt x="7654576" y="1153858"/>
                  </a:cubicBezTo>
                  <a:lnTo>
                    <a:pt x="7654576" y="1153858"/>
                  </a:lnTo>
                  <a:close/>
                  <a:moveTo>
                    <a:pt x="7834408" y="1839373"/>
                  </a:moveTo>
                  <a:cubicBezTo>
                    <a:pt x="7830122" y="1839373"/>
                    <a:pt x="7828027" y="1837277"/>
                    <a:pt x="7828027" y="1832991"/>
                  </a:cubicBezTo>
                  <a:lnTo>
                    <a:pt x="7828027" y="1411224"/>
                  </a:lnTo>
                  <a:lnTo>
                    <a:pt x="7737253" y="1411224"/>
                  </a:lnTo>
                  <a:cubicBezTo>
                    <a:pt x="7732967" y="1411224"/>
                    <a:pt x="7730871" y="1409129"/>
                    <a:pt x="7730871" y="1404842"/>
                  </a:cubicBezTo>
                  <a:lnTo>
                    <a:pt x="7730871" y="1335405"/>
                  </a:lnTo>
                  <a:cubicBezTo>
                    <a:pt x="7730871" y="1331119"/>
                    <a:pt x="7732967" y="1329023"/>
                    <a:pt x="7737253" y="1329023"/>
                  </a:cubicBezTo>
                  <a:lnTo>
                    <a:pt x="7940231" y="1329023"/>
                  </a:lnTo>
                  <a:cubicBezTo>
                    <a:pt x="7944517" y="1329023"/>
                    <a:pt x="7946612" y="1331119"/>
                    <a:pt x="7946612" y="1335405"/>
                  </a:cubicBezTo>
                  <a:lnTo>
                    <a:pt x="7946612" y="1832991"/>
                  </a:lnTo>
                  <a:cubicBezTo>
                    <a:pt x="7946612" y="1837277"/>
                    <a:pt x="7944517" y="1839373"/>
                    <a:pt x="7940231" y="1839373"/>
                  </a:cubicBezTo>
                  <a:lnTo>
                    <a:pt x="7834503" y="1839373"/>
                  </a:lnTo>
                  <a:close/>
                  <a:moveTo>
                    <a:pt x="7829550" y="1219486"/>
                  </a:moveTo>
                  <a:cubicBezTo>
                    <a:pt x="7814215" y="1204246"/>
                    <a:pt x="7806595" y="1185100"/>
                    <a:pt x="7806595" y="1162336"/>
                  </a:cubicBezTo>
                  <a:cubicBezTo>
                    <a:pt x="7806595" y="1139571"/>
                    <a:pt x="7814310" y="1121569"/>
                    <a:pt x="7829550" y="1106233"/>
                  </a:cubicBezTo>
                  <a:cubicBezTo>
                    <a:pt x="7844885" y="1090993"/>
                    <a:pt x="7863935" y="1083278"/>
                    <a:pt x="7886700" y="1083278"/>
                  </a:cubicBezTo>
                  <a:cubicBezTo>
                    <a:pt x="7909465" y="1083278"/>
                    <a:pt x="7927468" y="1090803"/>
                    <a:pt x="7942803" y="1105662"/>
                  </a:cubicBezTo>
                  <a:cubicBezTo>
                    <a:pt x="7958138" y="1120616"/>
                    <a:pt x="7965758" y="1139476"/>
                    <a:pt x="7965758" y="1162241"/>
                  </a:cubicBezTo>
                  <a:cubicBezTo>
                    <a:pt x="7965758" y="1185005"/>
                    <a:pt x="7958042" y="1204055"/>
                    <a:pt x="7942803" y="1219391"/>
                  </a:cubicBezTo>
                  <a:cubicBezTo>
                    <a:pt x="7928039" y="1234440"/>
                    <a:pt x="7907751" y="1242727"/>
                    <a:pt x="7886700" y="1242346"/>
                  </a:cubicBezTo>
                  <a:cubicBezTo>
                    <a:pt x="7863935" y="1242346"/>
                    <a:pt x="7844790" y="1234631"/>
                    <a:pt x="7829550" y="1219391"/>
                  </a:cubicBezTo>
                  <a:lnTo>
                    <a:pt x="7829550" y="1219391"/>
                  </a:lnTo>
                  <a:close/>
                  <a:moveTo>
                    <a:pt x="8189405" y="1840992"/>
                  </a:moveTo>
                  <a:cubicBezTo>
                    <a:pt x="8172355" y="1830515"/>
                    <a:pt x="8158925" y="1814989"/>
                    <a:pt x="8150924" y="1796701"/>
                  </a:cubicBezTo>
                  <a:cubicBezTo>
                    <a:pt x="8142732" y="1778222"/>
                    <a:pt x="8137874" y="1756982"/>
                    <a:pt x="8136541" y="1733169"/>
                  </a:cubicBezTo>
                  <a:cubicBezTo>
                    <a:pt x="8135112" y="1708785"/>
                    <a:pt x="8134350" y="1684401"/>
                    <a:pt x="8134446" y="1660017"/>
                  </a:cubicBezTo>
                  <a:lnTo>
                    <a:pt x="8134446" y="1411224"/>
                  </a:lnTo>
                  <a:lnTo>
                    <a:pt x="8050054" y="1411224"/>
                  </a:lnTo>
                  <a:cubicBezTo>
                    <a:pt x="8045768" y="1411224"/>
                    <a:pt x="8043672" y="1409129"/>
                    <a:pt x="8043672" y="1404842"/>
                  </a:cubicBezTo>
                  <a:lnTo>
                    <a:pt x="8043672" y="1335405"/>
                  </a:lnTo>
                  <a:cubicBezTo>
                    <a:pt x="8043672" y="1331119"/>
                    <a:pt x="8045768" y="1329023"/>
                    <a:pt x="8050054" y="1329023"/>
                  </a:cubicBezTo>
                  <a:lnTo>
                    <a:pt x="8134446" y="1329023"/>
                  </a:lnTo>
                  <a:lnTo>
                    <a:pt x="8134446" y="1185958"/>
                  </a:lnTo>
                  <a:cubicBezTo>
                    <a:pt x="8134446" y="1182433"/>
                    <a:pt x="8135017" y="1179957"/>
                    <a:pt x="8136065" y="1178433"/>
                  </a:cubicBezTo>
                  <a:cubicBezTo>
                    <a:pt x="8137112" y="1177004"/>
                    <a:pt x="8139780" y="1175957"/>
                    <a:pt x="8144066" y="1175195"/>
                  </a:cubicBezTo>
                  <a:lnTo>
                    <a:pt x="8238078" y="1162336"/>
                  </a:lnTo>
                  <a:cubicBezTo>
                    <a:pt x="8240268" y="1162241"/>
                    <a:pt x="8242364" y="1161859"/>
                    <a:pt x="8244459" y="1161288"/>
                  </a:cubicBezTo>
                  <a:cubicBezTo>
                    <a:pt x="8247317" y="1160621"/>
                    <a:pt x="8249412" y="1160907"/>
                    <a:pt x="8250841" y="1162336"/>
                  </a:cubicBezTo>
                  <a:cubicBezTo>
                    <a:pt x="8252270" y="1163765"/>
                    <a:pt x="8252937" y="1167003"/>
                    <a:pt x="8252937" y="1171956"/>
                  </a:cubicBezTo>
                  <a:lnTo>
                    <a:pt x="8252937" y="1328928"/>
                  </a:lnTo>
                  <a:lnTo>
                    <a:pt x="8389715" y="1328928"/>
                  </a:lnTo>
                  <a:cubicBezTo>
                    <a:pt x="8391811" y="1328928"/>
                    <a:pt x="8392954" y="1330357"/>
                    <a:pt x="8392954" y="1333214"/>
                  </a:cubicBezTo>
                  <a:cubicBezTo>
                    <a:pt x="8392954" y="1335024"/>
                    <a:pt x="8392477" y="1336834"/>
                    <a:pt x="8391906" y="1338548"/>
                  </a:cubicBezTo>
                  <a:lnTo>
                    <a:pt x="8378000" y="1401508"/>
                  </a:lnTo>
                  <a:cubicBezTo>
                    <a:pt x="8376571" y="1405795"/>
                    <a:pt x="8375333" y="1408462"/>
                    <a:pt x="8374285" y="1409509"/>
                  </a:cubicBezTo>
                  <a:cubicBezTo>
                    <a:pt x="8373237" y="1410557"/>
                    <a:pt x="8370856" y="1411129"/>
                    <a:pt x="8367332" y="1411129"/>
                  </a:cubicBezTo>
                  <a:lnTo>
                    <a:pt x="8253032" y="1411129"/>
                  </a:lnTo>
                  <a:lnTo>
                    <a:pt x="8253032" y="1678115"/>
                  </a:lnTo>
                  <a:cubicBezTo>
                    <a:pt x="8253032" y="1698022"/>
                    <a:pt x="8255318" y="1715357"/>
                    <a:pt x="8259985" y="1729931"/>
                  </a:cubicBezTo>
                  <a:cubicBezTo>
                    <a:pt x="8264557" y="1744504"/>
                    <a:pt x="8277225" y="1751838"/>
                    <a:pt x="8297894" y="1751838"/>
                  </a:cubicBezTo>
                  <a:cubicBezTo>
                    <a:pt x="8309229" y="1751838"/>
                    <a:pt x="8319612" y="1750790"/>
                    <a:pt x="8328851" y="1748600"/>
                  </a:cubicBezTo>
                  <a:cubicBezTo>
                    <a:pt x="8338090" y="1746504"/>
                    <a:pt x="8346281" y="1744027"/>
                    <a:pt x="8353425" y="1741170"/>
                  </a:cubicBezTo>
                  <a:cubicBezTo>
                    <a:pt x="8357045" y="1739741"/>
                    <a:pt x="8359998" y="1738693"/>
                    <a:pt x="8362474" y="1737932"/>
                  </a:cubicBezTo>
                  <a:cubicBezTo>
                    <a:pt x="8364951" y="1737265"/>
                    <a:pt x="8367617" y="1736122"/>
                    <a:pt x="8370475" y="1734693"/>
                  </a:cubicBezTo>
                  <a:cubicBezTo>
                    <a:pt x="8375428" y="1733264"/>
                    <a:pt x="8378667" y="1733264"/>
                    <a:pt x="8380095" y="1734693"/>
                  </a:cubicBezTo>
                  <a:cubicBezTo>
                    <a:pt x="8381333" y="1735931"/>
                    <a:pt x="8382476" y="1737360"/>
                    <a:pt x="8383334" y="1738979"/>
                  </a:cubicBezTo>
                  <a:lnTo>
                    <a:pt x="8403622" y="1819084"/>
                  </a:lnTo>
                  <a:cubicBezTo>
                    <a:pt x="8405050" y="1821942"/>
                    <a:pt x="8404670" y="1824418"/>
                    <a:pt x="8402574" y="1826514"/>
                  </a:cubicBezTo>
                  <a:cubicBezTo>
                    <a:pt x="8394764" y="1835087"/>
                    <a:pt x="8378190" y="1842325"/>
                    <a:pt x="8352854" y="1848422"/>
                  </a:cubicBezTo>
                  <a:cubicBezTo>
                    <a:pt x="8327518" y="1854422"/>
                    <a:pt x="8297799" y="1857470"/>
                    <a:pt x="8263605" y="1857470"/>
                  </a:cubicBezTo>
                  <a:cubicBezTo>
                    <a:pt x="8231601" y="1857470"/>
                    <a:pt x="8206740" y="1851946"/>
                    <a:pt x="8189310" y="1840897"/>
                  </a:cubicBezTo>
                  <a:moveTo>
                    <a:pt x="8573929" y="1611916"/>
                  </a:moveTo>
                  <a:cubicBezTo>
                    <a:pt x="8573929" y="1628966"/>
                    <a:pt x="8575357" y="1646587"/>
                    <a:pt x="8578215" y="1664780"/>
                  </a:cubicBezTo>
                  <a:cubicBezTo>
                    <a:pt x="8581073" y="1682972"/>
                    <a:pt x="8587168" y="1699165"/>
                    <a:pt x="8596408" y="1713357"/>
                  </a:cubicBezTo>
                  <a:cubicBezTo>
                    <a:pt x="8605647" y="1727645"/>
                    <a:pt x="8618411" y="1739360"/>
                    <a:pt x="8634889" y="1748600"/>
                  </a:cubicBezTo>
                  <a:cubicBezTo>
                    <a:pt x="8651272" y="1757839"/>
                    <a:pt x="8672989" y="1762506"/>
                    <a:pt x="8700040" y="1762506"/>
                  </a:cubicBezTo>
                  <a:cubicBezTo>
                    <a:pt x="8719947" y="1762506"/>
                    <a:pt x="8737759" y="1760506"/>
                    <a:pt x="8753475" y="1756600"/>
                  </a:cubicBezTo>
                  <a:cubicBezTo>
                    <a:pt x="8769096" y="1752695"/>
                    <a:pt x="8782621" y="1748600"/>
                    <a:pt x="8794052" y="1744313"/>
                  </a:cubicBezTo>
                  <a:cubicBezTo>
                    <a:pt x="8806149" y="1740027"/>
                    <a:pt x="8815768" y="1735741"/>
                    <a:pt x="8822912" y="1731455"/>
                  </a:cubicBezTo>
                  <a:cubicBezTo>
                    <a:pt x="8825770" y="1730026"/>
                    <a:pt x="8828056" y="1728978"/>
                    <a:pt x="8829866" y="1728216"/>
                  </a:cubicBezTo>
                  <a:cubicBezTo>
                    <a:pt x="8831389" y="1727549"/>
                    <a:pt x="8833009" y="1727168"/>
                    <a:pt x="8834628" y="1727168"/>
                  </a:cubicBezTo>
                  <a:cubicBezTo>
                    <a:pt x="8836723" y="1727168"/>
                    <a:pt x="8838533" y="1728597"/>
                    <a:pt x="8839962" y="1731455"/>
                  </a:cubicBezTo>
                  <a:lnTo>
                    <a:pt x="8868823" y="1796606"/>
                  </a:lnTo>
                  <a:cubicBezTo>
                    <a:pt x="8870918" y="1800130"/>
                    <a:pt x="8870632" y="1803368"/>
                    <a:pt x="8867775" y="1806226"/>
                  </a:cubicBezTo>
                  <a:cubicBezTo>
                    <a:pt x="8862726" y="1811179"/>
                    <a:pt x="8854440" y="1816703"/>
                    <a:pt x="8842629" y="1822799"/>
                  </a:cubicBezTo>
                  <a:cubicBezTo>
                    <a:pt x="8828913" y="1829657"/>
                    <a:pt x="8814625" y="1835372"/>
                    <a:pt x="8799862" y="1839849"/>
                  </a:cubicBezTo>
                  <a:cubicBezTo>
                    <a:pt x="8783098" y="1845183"/>
                    <a:pt x="8765000" y="1849469"/>
                    <a:pt x="8745379" y="1852708"/>
                  </a:cubicBezTo>
                  <a:cubicBezTo>
                    <a:pt x="8725758" y="1855946"/>
                    <a:pt x="8705945" y="1857470"/>
                    <a:pt x="8686038" y="1857470"/>
                  </a:cubicBezTo>
                  <a:cubicBezTo>
                    <a:pt x="8651843" y="1857470"/>
                    <a:pt x="8620696" y="1852422"/>
                    <a:pt x="8592598" y="1842516"/>
                  </a:cubicBezTo>
                  <a:cubicBezTo>
                    <a:pt x="8564975" y="1832896"/>
                    <a:pt x="8540020" y="1816799"/>
                    <a:pt x="8519922" y="1795558"/>
                  </a:cubicBezTo>
                  <a:cubicBezTo>
                    <a:pt x="8499634" y="1774222"/>
                    <a:pt x="8483727" y="1746409"/>
                    <a:pt x="8472392" y="1712309"/>
                  </a:cubicBezTo>
                  <a:cubicBezTo>
                    <a:pt x="8460962" y="1678115"/>
                    <a:pt x="8455343" y="1637157"/>
                    <a:pt x="8455343" y="1589532"/>
                  </a:cubicBezTo>
                  <a:cubicBezTo>
                    <a:pt x="8455343" y="1547527"/>
                    <a:pt x="8460677" y="1509427"/>
                    <a:pt x="8471345" y="1475232"/>
                  </a:cubicBezTo>
                  <a:cubicBezTo>
                    <a:pt x="8482012" y="1441037"/>
                    <a:pt x="8497158" y="1411796"/>
                    <a:pt x="8516779" y="1387697"/>
                  </a:cubicBezTo>
                  <a:cubicBezTo>
                    <a:pt x="8536019" y="1363790"/>
                    <a:pt x="8560213" y="1344454"/>
                    <a:pt x="8587835" y="1331119"/>
                  </a:cubicBezTo>
                  <a:cubicBezTo>
                    <a:pt x="8615649" y="1317593"/>
                    <a:pt x="8646605" y="1310831"/>
                    <a:pt x="8680799" y="1310831"/>
                  </a:cubicBezTo>
                  <a:cubicBezTo>
                    <a:pt x="8724233" y="1310831"/>
                    <a:pt x="8759285" y="1319403"/>
                    <a:pt x="8786050" y="1336453"/>
                  </a:cubicBezTo>
                  <a:cubicBezTo>
                    <a:pt x="8812244" y="1353026"/>
                    <a:pt x="8833771" y="1375982"/>
                    <a:pt x="8848534" y="1403223"/>
                  </a:cubicBezTo>
                  <a:cubicBezTo>
                    <a:pt x="8863489" y="1430560"/>
                    <a:pt x="8873490" y="1461135"/>
                    <a:pt x="8878443" y="1494568"/>
                  </a:cubicBezTo>
                  <a:cubicBezTo>
                    <a:pt x="8883396" y="1528000"/>
                    <a:pt x="8885967" y="1561148"/>
                    <a:pt x="8885967" y="1593914"/>
                  </a:cubicBezTo>
                  <a:cubicBezTo>
                    <a:pt x="8885967" y="1602486"/>
                    <a:pt x="8885301" y="1607630"/>
                    <a:pt x="8883872" y="1609439"/>
                  </a:cubicBezTo>
                  <a:cubicBezTo>
                    <a:pt x="8882443" y="1611249"/>
                    <a:pt x="8877871" y="1612106"/>
                    <a:pt x="8869966" y="1612106"/>
                  </a:cubicBezTo>
                  <a:lnTo>
                    <a:pt x="8574024" y="1612106"/>
                  </a:lnTo>
                  <a:close/>
                  <a:moveTo>
                    <a:pt x="8619267" y="1409033"/>
                  </a:moveTo>
                  <a:cubicBezTo>
                    <a:pt x="8606124" y="1419701"/>
                    <a:pt x="8596312" y="1432179"/>
                    <a:pt x="8589931" y="1446371"/>
                  </a:cubicBezTo>
                  <a:cubicBezTo>
                    <a:pt x="8584311" y="1459516"/>
                    <a:pt x="8580406" y="1473327"/>
                    <a:pt x="8578215" y="1487519"/>
                  </a:cubicBezTo>
                  <a:cubicBezTo>
                    <a:pt x="8576120" y="1501521"/>
                    <a:pt x="8574310" y="1515618"/>
                    <a:pt x="8572881" y="1529715"/>
                  </a:cubicBezTo>
                  <a:lnTo>
                    <a:pt x="8758809" y="1529715"/>
                  </a:lnTo>
                  <a:cubicBezTo>
                    <a:pt x="8758809" y="1515427"/>
                    <a:pt x="8758142" y="1500473"/>
                    <a:pt x="8756714" y="1484852"/>
                  </a:cubicBezTo>
                  <a:cubicBezTo>
                    <a:pt x="8755380" y="1469612"/>
                    <a:pt x="8751761" y="1454658"/>
                    <a:pt x="8746045" y="1440561"/>
                  </a:cubicBezTo>
                  <a:cubicBezTo>
                    <a:pt x="8740711" y="1427131"/>
                    <a:pt x="8731853" y="1415320"/>
                    <a:pt x="8720424" y="1406366"/>
                  </a:cubicBezTo>
                  <a:cubicBezTo>
                    <a:pt x="8708993" y="1397508"/>
                    <a:pt x="8693372" y="1393031"/>
                    <a:pt x="8673370" y="1393031"/>
                  </a:cubicBezTo>
                  <a:cubicBezTo>
                    <a:pt x="8650605" y="1393031"/>
                    <a:pt x="8632603" y="1398365"/>
                    <a:pt x="8619458" y="1409033"/>
                  </a:cubicBezTo>
                  <a:lnTo>
                    <a:pt x="8619458" y="1409033"/>
                  </a:lnTo>
                  <a:close/>
                  <a:moveTo>
                    <a:pt x="9048559" y="1840992"/>
                  </a:moveTo>
                  <a:cubicBezTo>
                    <a:pt x="9032367" y="1830133"/>
                    <a:pt x="9019699" y="1814703"/>
                    <a:pt x="9012269" y="1796701"/>
                  </a:cubicBezTo>
                  <a:cubicBezTo>
                    <a:pt x="9004459" y="1778222"/>
                    <a:pt x="8999791" y="1756982"/>
                    <a:pt x="8998363" y="1733169"/>
                  </a:cubicBezTo>
                  <a:cubicBezTo>
                    <a:pt x="8996934" y="1708785"/>
                    <a:pt x="8996267" y="1684401"/>
                    <a:pt x="8996267" y="1660017"/>
                  </a:cubicBezTo>
                  <a:lnTo>
                    <a:pt x="8996267" y="1116521"/>
                  </a:lnTo>
                  <a:cubicBezTo>
                    <a:pt x="8996267" y="1112234"/>
                    <a:pt x="8996934" y="1109758"/>
                    <a:pt x="8998363" y="1108996"/>
                  </a:cubicBezTo>
                  <a:cubicBezTo>
                    <a:pt x="8999125" y="1107567"/>
                    <a:pt x="9000839" y="1106519"/>
                    <a:pt x="9003697" y="1105757"/>
                  </a:cubicBezTo>
                  <a:cubicBezTo>
                    <a:pt x="9005792" y="1105186"/>
                    <a:pt x="9007983" y="1104805"/>
                    <a:pt x="9010079" y="1104709"/>
                  </a:cubicBezTo>
                  <a:lnTo>
                    <a:pt x="9100851" y="1085469"/>
                  </a:lnTo>
                  <a:cubicBezTo>
                    <a:pt x="9102280" y="1085469"/>
                    <a:pt x="9103233" y="1085279"/>
                    <a:pt x="9103519" y="1084898"/>
                  </a:cubicBezTo>
                  <a:cubicBezTo>
                    <a:pt x="9103900" y="1084612"/>
                    <a:pt x="9104757" y="1084326"/>
                    <a:pt x="9106186" y="1084326"/>
                  </a:cubicBezTo>
                  <a:lnTo>
                    <a:pt x="9110472" y="1084326"/>
                  </a:lnTo>
                  <a:cubicBezTo>
                    <a:pt x="9111901" y="1085088"/>
                    <a:pt x="9113234" y="1086231"/>
                    <a:pt x="9114282" y="1087565"/>
                  </a:cubicBezTo>
                  <a:cubicBezTo>
                    <a:pt x="9114663" y="1088231"/>
                    <a:pt x="9114758" y="1091470"/>
                    <a:pt x="9114758" y="1097185"/>
                  </a:cubicBezTo>
                  <a:lnTo>
                    <a:pt x="9114758" y="1679162"/>
                  </a:lnTo>
                  <a:cubicBezTo>
                    <a:pt x="9114758" y="1699165"/>
                    <a:pt x="9116759" y="1716215"/>
                    <a:pt x="9120664" y="1730407"/>
                  </a:cubicBezTo>
                  <a:cubicBezTo>
                    <a:pt x="9124569" y="1744694"/>
                    <a:pt x="9135427" y="1751743"/>
                    <a:pt x="9153239" y="1751743"/>
                  </a:cubicBezTo>
                  <a:cubicBezTo>
                    <a:pt x="9163050" y="1751743"/>
                    <a:pt x="9172861" y="1749933"/>
                    <a:pt x="9182100" y="1746409"/>
                  </a:cubicBezTo>
                  <a:cubicBezTo>
                    <a:pt x="9187815" y="1744980"/>
                    <a:pt x="9190958" y="1744313"/>
                    <a:pt x="9191720" y="1744313"/>
                  </a:cubicBezTo>
                  <a:cubicBezTo>
                    <a:pt x="9193816" y="1744313"/>
                    <a:pt x="9195340" y="1745361"/>
                    <a:pt x="9196007" y="1747552"/>
                  </a:cubicBezTo>
                  <a:lnTo>
                    <a:pt x="9215247" y="1826609"/>
                  </a:lnTo>
                  <a:cubicBezTo>
                    <a:pt x="9215914" y="1830133"/>
                    <a:pt x="9216104" y="1832324"/>
                    <a:pt x="9215724" y="1832991"/>
                  </a:cubicBezTo>
                  <a:lnTo>
                    <a:pt x="9214104" y="1836230"/>
                  </a:lnTo>
                  <a:cubicBezTo>
                    <a:pt x="9209817" y="1841183"/>
                    <a:pt x="9198769" y="1846040"/>
                    <a:pt x="9181052" y="1850612"/>
                  </a:cubicBezTo>
                  <a:cubicBezTo>
                    <a:pt x="9163241" y="1855280"/>
                    <a:pt x="9142571" y="1857566"/>
                    <a:pt x="9119045" y="1857566"/>
                  </a:cubicBezTo>
                  <a:cubicBezTo>
                    <a:pt x="9088374" y="1857566"/>
                    <a:pt x="9064847" y="1852041"/>
                    <a:pt x="9048464" y="1840992"/>
                  </a:cubicBezTo>
                  <a:moveTo>
                    <a:pt x="9600914" y="1839373"/>
                  </a:moveTo>
                  <a:cubicBezTo>
                    <a:pt x="9596628" y="1839373"/>
                    <a:pt x="9594532" y="1837277"/>
                    <a:pt x="9594532" y="1832991"/>
                  </a:cubicBezTo>
                  <a:lnTo>
                    <a:pt x="9594532" y="1504093"/>
                  </a:lnTo>
                  <a:cubicBezTo>
                    <a:pt x="9594532" y="1494187"/>
                    <a:pt x="9593961" y="1483424"/>
                    <a:pt x="9592913" y="1472089"/>
                  </a:cubicBezTo>
                  <a:cubicBezTo>
                    <a:pt x="9591961" y="1461135"/>
                    <a:pt x="9589103" y="1450467"/>
                    <a:pt x="9584341" y="1440561"/>
                  </a:cubicBezTo>
                  <a:cubicBezTo>
                    <a:pt x="9579673" y="1430846"/>
                    <a:pt x="9572625" y="1422464"/>
                    <a:pt x="9564052" y="1415987"/>
                  </a:cubicBezTo>
                  <a:cubicBezTo>
                    <a:pt x="9555099" y="1409224"/>
                    <a:pt x="9542526" y="1405890"/>
                    <a:pt x="9526143" y="1405890"/>
                  </a:cubicBezTo>
                  <a:cubicBezTo>
                    <a:pt x="9514046" y="1405890"/>
                    <a:pt x="9502616" y="1407700"/>
                    <a:pt x="9491949" y="1411224"/>
                  </a:cubicBezTo>
                  <a:cubicBezTo>
                    <a:pt x="9472993" y="1417415"/>
                    <a:pt x="9455372" y="1427226"/>
                    <a:pt x="9440133" y="1440085"/>
                  </a:cubicBezTo>
                  <a:cubicBezTo>
                    <a:pt x="9433370" y="1445800"/>
                    <a:pt x="9427845" y="1450467"/>
                    <a:pt x="9423559" y="1453991"/>
                  </a:cubicBezTo>
                  <a:lnTo>
                    <a:pt x="9423559" y="1833086"/>
                  </a:lnTo>
                  <a:cubicBezTo>
                    <a:pt x="9423559" y="1837373"/>
                    <a:pt x="9421463" y="1839468"/>
                    <a:pt x="9417177" y="1839468"/>
                  </a:cubicBezTo>
                  <a:lnTo>
                    <a:pt x="9311450" y="1839468"/>
                  </a:lnTo>
                  <a:cubicBezTo>
                    <a:pt x="9307163" y="1839468"/>
                    <a:pt x="9305067" y="1837373"/>
                    <a:pt x="9305067" y="1833086"/>
                  </a:cubicBezTo>
                  <a:lnTo>
                    <a:pt x="9305067" y="1510570"/>
                  </a:lnTo>
                  <a:cubicBezTo>
                    <a:pt x="9305067" y="1472089"/>
                    <a:pt x="9304020" y="1442942"/>
                    <a:pt x="9301829" y="1423035"/>
                  </a:cubicBezTo>
                  <a:cubicBezTo>
                    <a:pt x="9299639" y="1403128"/>
                    <a:pt x="9297162" y="1388174"/>
                    <a:pt x="9294305" y="1378172"/>
                  </a:cubicBezTo>
                  <a:cubicBezTo>
                    <a:pt x="9293161" y="1373696"/>
                    <a:pt x="9291924" y="1369219"/>
                    <a:pt x="9290590" y="1364837"/>
                  </a:cubicBezTo>
                  <a:cubicBezTo>
                    <a:pt x="9289542" y="1361694"/>
                    <a:pt x="9288304" y="1358741"/>
                    <a:pt x="9286875" y="1355789"/>
                  </a:cubicBezTo>
                  <a:cubicBezTo>
                    <a:pt x="9285541" y="1352741"/>
                    <a:pt x="9285161" y="1349407"/>
                    <a:pt x="9285827" y="1346168"/>
                  </a:cubicBezTo>
                  <a:cubicBezTo>
                    <a:pt x="9285827" y="1344073"/>
                    <a:pt x="9287256" y="1342263"/>
                    <a:pt x="9290114" y="1340834"/>
                  </a:cubicBezTo>
                  <a:lnTo>
                    <a:pt x="9371266" y="1314164"/>
                  </a:lnTo>
                  <a:cubicBezTo>
                    <a:pt x="9374886" y="1312735"/>
                    <a:pt x="9378220" y="1311688"/>
                    <a:pt x="9381458" y="1310926"/>
                  </a:cubicBezTo>
                  <a:cubicBezTo>
                    <a:pt x="9384697" y="1310259"/>
                    <a:pt x="9386983" y="1310926"/>
                    <a:pt x="9388411" y="1313021"/>
                  </a:cubicBezTo>
                  <a:cubicBezTo>
                    <a:pt x="9391936" y="1317308"/>
                    <a:pt x="9395746" y="1324737"/>
                    <a:pt x="9399651" y="1335405"/>
                  </a:cubicBezTo>
                  <a:cubicBezTo>
                    <a:pt x="9403556" y="1346073"/>
                    <a:pt x="9408319" y="1364933"/>
                    <a:pt x="9414034" y="1391983"/>
                  </a:cubicBezTo>
                  <a:cubicBezTo>
                    <a:pt x="9423273" y="1384173"/>
                    <a:pt x="9430608" y="1377791"/>
                    <a:pt x="9435941" y="1372743"/>
                  </a:cubicBezTo>
                  <a:cubicBezTo>
                    <a:pt x="9440989" y="1367981"/>
                    <a:pt x="9446228" y="1363408"/>
                    <a:pt x="9451467" y="1358837"/>
                  </a:cubicBezTo>
                  <a:cubicBezTo>
                    <a:pt x="9469755" y="1343787"/>
                    <a:pt x="9490329" y="1331690"/>
                    <a:pt x="9512332" y="1323023"/>
                  </a:cubicBezTo>
                  <a:cubicBezTo>
                    <a:pt x="9534906" y="1314641"/>
                    <a:pt x="9558814" y="1310450"/>
                    <a:pt x="9582817" y="1310735"/>
                  </a:cubicBezTo>
                  <a:cubicBezTo>
                    <a:pt x="9597104" y="1310735"/>
                    <a:pt x="9611868" y="1312735"/>
                    <a:pt x="9627108" y="1316641"/>
                  </a:cubicBezTo>
                  <a:cubicBezTo>
                    <a:pt x="9642634" y="1320641"/>
                    <a:pt x="9657016" y="1328166"/>
                    <a:pt x="9669304" y="1338548"/>
                  </a:cubicBezTo>
                  <a:cubicBezTo>
                    <a:pt x="9682162" y="1349216"/>
                    <a:pt x="9692640" y="1364171"/>
                    <a:pt x="9700832" y="1383411"/>
                  </a:cubicBezTo>
                  <a:cubicBezTo>
                    <a:pt x="9709023" y="1402651"/>
                    <a:pt x="9713119" y="1427607"/>
                    <a:pt x="9713119" y="1458182"/>
                  </a:cubicBezTo>
                  <a:lnTo>
                    <a:pt x="9713119" y="1832991"/>
                  </a:lnTo>
                  <a:cubicBezTo>
                    <a:pt x="9713119" y="1837277"/>
                    <a:pt x="9711024" y="1839373"/>
                    <a:pt x="9706737" y="1839373"/>
                  </a:cubicBezTo>
                  <a:lnTo>
                    <a:pt x="9601009" y="1839373"/>
                  </a:lnTo>
                  <a:close/>
                  <a:moveTo>
                    <a:pt x="10152126" y="1853279"/>
                  </a:moveTo>
                  <a:cubicBezTo>
                    <a:pt x="10149269" y="1854708"/>
                    <a:pt x="10146792" y="1855756"/>
                    <a:pt x="10144602" y="1856518"/>
                  </a:cubicBezTo>
                  <a:cubicBezTo>
                    <a:pt x="10143173" y="1856518"/>
                    <a:pt x="10142125" y="1856804"/>
                    <a:pt x="10141362" y="1857566"/>
                  </a:cubicBezTo>
                  <a:cubicBezTo>
                    <a:pt x="10137077" y="1857566"/>
                    <a:pt x="10132314" y="1850231"/>
                    <a:pt x="10126980" y="1835658"/>
                  </a:cubicBezTo>
                  <a:cubicBezTo>
                    <a:pt x="10121074" y="1819180"/>
                    <a:pt x="10116693" y="1802225"/>
                    <a:pt x="10113645" y="1784985"/>
                  </a:cubicBezTo>
                  <a:cubicBezTo>
                    <a:pt x="10107168" y="1790795"/>
                    <a:pt x="10100881" y="1796796"/>
                    <a:pt x="10094976" y="1803178"/>
                  </a:cubicBezTo>
                  <a:cubicBezTo>
                    <a:pt x="10091071" y="1807464"/>
                    <a:pt x="10086975" y="1811369"/>
                    <a:pt x="10082689" y="1814893"/>
                  </a:cubicBezTo>
                  <a:cubicBezTo>
                    <a:pt x="10078974" y="1818608"/>
                    <a:pt x="10075069" y="1821942"/>
                    <a:pt x="10070972" y="1825085"/>
                  </a:cubicBezTo>
                  <a:cubicBezTo>
                    <a:pt x="10066116" y="1828609"/>
                    <a:pt x="10061163" y="1832039"/>
                    <a:pt x="10056019" y="1835277"/>
                  </a:cubicBezTo>
                  <a:cubicBezTo>
                    <a:pt x="10046017" y="1840992"/>
                    <a:pt x="10033921" y="1846135"/>
                    <a:pt x="10019728" y="1850803"/>
                  </a:cubicBezTo>
                  <a:cubicBezTo>
                    <a:pt x="10005440" y="1855470"/>
                    <a:pt x="9988772" y="1857756"/>
                    <a:pt x="9969532" y="1857756"/>
                  </a:cubicBezTo>
                  <a:cubicBezTo>
                    <a:pt x="9922478" y="1857756"/>
                    <a:pt x="9885426" y="1843850"/>
                    <a:pt x="9858375" y="1816132"/>
                  </a:cubicBezTo>
                  <a:cubicBezTo>
                    <a:pt x="9831324" y="1788319"/>
                    <a:pt x="9817798" y="1750314"/>
                    <a:pt x="9817798" y="1701832"/>
                  </a:cubicBezTo>
                  <a:cubicBezTo>
                    <a:pt x="9817798" y="1673352"/>
                    <a:pt x="9822370" y="1649349"/>
                    <a:pt x="9831705" y="1629727"/>
                  </a:cubicBezTo>
                  <a:cubicBezTo>
                    <a:pt x="9840277" y="1611058"/>
                    <a:pt x="9852851" y="1594485"/>
                    <a:pt x="9868566" y="1581150"/>
                  </a:cubicBezTo>
                  <a:cubicBezTo>
                    <a:pt x="9884092" y="1568196"/>
                    <a:pt x="9901810" y="1558290"/>
                    <a:pt x="9920954" y="1551813"/>
                  </a:cubicBezTo>
                  <a:cubicBezTo>
                    <a:pt x="9940576" y="1545050"/>
                    <a:pt x="9960769" y="1540002"/>
                    <a:pt x="9981343" y="1536859"/>
                  </a:cubicBezTo>
                  <a:cubicBezTo>
                    <a:pt x="10001631" y="1533716"/>
                    <a:pt x="10022205" y="1531715"/>
                    <a:pt x="10042779" y="1530953"/>
                  </a:cubicBezTo>
                  <a:cubicBezTo>
                    <a:pt x="10060781" y="1530287"/>
                    <a:pt x="10078784" y="1529906"/>
                    <a:pt x="10096691" y="1529906"/>
                  </a:cubicBezTo>
                  <a:lnTo>
                    <a:pt x="10096691" y="1488281"/>
                  </a:lnTo>
                  <a:cubicBezTo>
                    <a:pt x="10096691" y="1476470"/>
                    <a:pt x="10095834" y="1464659"/>
                    <a:pt x="10094023" y="1453039"/>
                  </a:cubicBezTo>
                  <a:cubicBezTo>
                    <a:pt x="10092499" y="1442942"/>
                    <a:pt x="10088404" y="1433417"/>
                    <a:pt x="10082308" y="1425226"/>
                  </a:cubicBezTo>
                  <a:cubicBezTo>
                    <a:pt x="10075641" y="1416939"/>
                    <a:pt x="10066687" y="1410652"/>
                    <a:pt x="10056685" y="1407033"/>
                  </a:cubicBezTo>
                  <a:cubicBezTo>
                    <a:pt x="10045637" y="1402747"/>
                    <a:pt x="10030873" y="1400651"/>
                    <a:pt x="10012299" y="1400651"/>
                  </a:cubicBezTo>
                  <a:cubicBezTo>
                    <a:pt x="9996869" y="1400651"/>
                    <a:pt x="9981438" y="1402461"/>
                    <a:pt x="9966388" y="1405985"/>
                  </a:cubicBezTo>
                  <a:cubicBezTo>
                    <a:pt x="9951434" y="1409509"/>
                    <a:pt x="9937909" y="1413129"/>
                    <a:pt x="9925812" y="1416653"/>
                  </a:cubicBezTo>
                  <a:cubicBezTo>
                    <a:pt x="9920097" y="1418749"/>
                    <a:pt x="9914573" y="1420940"/>
                    <a:pt x="9909238" y="1423035"/>
                  </a:cubicBezTo>
                  <a:cubicBezTo>
                    <a:pt x="9904476" y="1424940"/>
                    <a:pt x="9899618" y="1426750"/>
                    <a:pt x="9894855" y="1428369"/>
                  </a:cubicBezTo>
                  <a:cubicBezTo>
                    <a:pt x="9888474" y="1430465"/>
                    <a:pt x="9884187" y="1431608"/>
                    <a:pt x="9881997" y="1431608"/>
                  </a:cubicBezTo>
                  <a:cubicBezTo>
                    <a:pt x="9879140" y="1431608"/>
                    <a:pt x="9877711" y="1430560"/>
                    <a:pt x="9877711" y="1428369"/>
                  </a:cubicBezTo>
                  <a:lnTo>
                    <a:pt x="9856375" y="1363218"/>
                  </a:lnTo>
                  <a:cubicBezTo>
                    <a:pt x="9855517" y="1361504"/>
                    <a:pt x="9854851" y="1359694"/>
                    <a:pt x="9854279" y="1357884"/>
                  </a:cubicBezTo>
                  <a:cubicBezTo>
                    <a:pt x="9853612" y="1356170"/>
                    <a:pt x="9853231" y="1354360"/>
                    <a:pt x="9853231" y="1352550"/>
                  </a:cubicBezTo>
                  <a:cubicBezTo>
                    <a:pt x="9853231" y="1349026"/>
                    <a:pt x="9858947" y="1344740"/>
                    <a:pt x="9870281" y="1339691"/>
                  </a:cubicBezTo>
                  <a:cubicBezTo>
                    <a:pt x="9884283" y="1333881"/>
                    <a:pt x="9898761" y="1329214"/>
                    <a:pt x="9913525" y="1325785"/>
                  </a:cubicBezTo>
                  <a:cubicBezTo>
                    <a:pt x="9932766" y="1321213"/>
                    <a:pt x="9952196" y="1317593"/>
                    <a:pt x="9971723" y="1315117"/>
                  </a:cubicBezTo>
                  <a:cubicBezTo>
                    <a:pt x="9991916" y="1312355"/>
                    <a:pt x="10012299" y="1310926"/>
                    <a:pt x="10032588" y="1310831"/>
                  </a:cubicBezTo>
                  <a:cubicBezTo>
                    <a:pt x="10097357" y="1310831"/>
                    <a:pt x="10142791" y="1324737"/>
                    <a:pt x="10168794" y="1352455"/>
                  </a:cubicBezTo>
                  <a:cubicBezTo>
                    <a:pt x="10194797" y="1380173"/>
                    <a:pt x="10207753" y="1420749"/>
                    <a:pt x="10207753" y="1474184"/>
                  </a:cubicBezTo>
                  <a:lnTo>
                    <a:pt x="10207753" y="1680305"/>
                  </a:lnTo>
                  <a:cubicBezTo>
                    <a:pt x="10207753" y="1706594"/>
                    <a:pt x="10209180" y="1728025"/>
                    <a:pt x="10212038" y="1744408"/>
                  </a:cubicBezTo>
                  <a:cubicBezTo>
                    <a:pt x="10214896" y="1760792"/>
                    <a:pt x="10218039" y="1773936"/>
                    <a:pt x="10221659" y="1783937"/>
                  </a:cubicBezTo>
                  <a:cubicBezTo>
                    <a:pt x="10223754" y="1788985"/>
                    <a:pt x="10225564" y="1792986"/>
                    <a:pt x="10226992" y="1796225"/>
                  </a:cubicBezTo>
                  <a:cubicBezTo>
                    <a:pt x="10228421" y="1799463"/>
                    <a:pt x="10229850" y="1802797"/>
                    <a:pt x="10231279" y="1806416"/>
                  </a:cubicBezTo>
                  <a:cubicBezTo>
                    <a:pt x="10234136" y="1812131"/>
                    <a:pt x="10235565" y="1815656"/>
                    <a:pt x="10235565" y="1817084"/>
                  </a:cubicBezTo>
                  <a:cubicBezTo>
                    <a:pt x="10235565" y="1818513"/>
                    <a:pt x="10234136" y="1819942"/>
                    <a:pt x="10231279" y="1821371"/>
                  </a:cubicBezTo>
                  <a:lnTo>
                    <a:pt x="10152221" y="1853375"/>
                  </a:lnTo>
                  <a:lnTo>
                    <a:pt x="10152221" y="1853375"/>
                  </a:lnTo>
                  <a:close/>
                  <a:moveTo>
                    <a:pt x="10052685" y="1600200"/>
                  </a:moveTo>
                  <a:cubicBezTo>
                    <a:pt x="10044874" y="1600962"/>
                    <a:pt x="10036492" y="1601629"/>
                    <a:pt x="10027539" y="1602296"/>
                  </a:cubicBezTo>
                  <a:cubicBezTo>
                    <a:pt x="10018300" y="1603058"/>
                    <a:pt x="10009155" y="1604867"/>
                    <a:pt x="10000298" y="1607630"/>
                  </a:cubicBezTo>
                  <a:cubicBezTo>
                    <a:pt x="9981819" y="1612678"/>
                    <a:pt x="9965245" y="1621631"/>
                    <a:pt x="9950672" y="1634871"/>
                  </a:cubicBezTo>
                  <a:cubicBezTo>
                    <a:pt x="9936004" y="1648016"/>
                    <a:pt x="9928765" y="1667827"/>
                    <a:pt x="9928765" y="1694117"/>
                  </a:cubicBezTo>
                  <a:cubicBezTo>
                    <a:pt x="9928765" y="1716881"/>
                    <a:pt x="9936290" y="1736122"/>
                    <a:pt x="9951244" y="1751743"/>
                  </a:cubicBezTo>
                  <a:cubicBezTo>
                    <a:pt x="9966197" y="1767364"/>
                    <a:pt x="9985058" y="1775270"/>
                    <a:pt x="10007822" y="1775270"/>
                  </a:cubicBezTo>
                  <a:cubicBezTo>
                    <a:pt x="10029159" y="1775270"/>
                    <a:pt x="10047351" y="1769745"/>
                    <a:pt x="10062306" y="1758696"/>
                  </a:cubicBezTo>
                  <a:cubicBezTo>
                    <a:pt x="10077259" y="1747647"/>
                    <a:pt x="10088690" y="1737836"/>
                    <a:pt x="10096500" y="1729359"/>
                  </a:cubicBezTo>
                  <a:lnTo>
                    <a:pt x="10096500" y="1600105"/>
                  </a:lnTo>
                  <a:lnTo>
                    <a:pt x="10052685" y="1600105"/>
                  </a:lnTo>
                  <a:close/>
                </a:path>
              </a:pathLst>
            </a:custGeom>
            <a:solidFill>
              <a:srgbClr val="002E51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" name="Ovál 2">
            <a:extLst>
              <a:ext uri="{FF2B5EF4-FFF2-40B4-BE49-F238E27FC236}">
                <a16:creationId xmlns:a16="http://schemas.microsoft.com/office/drawing/2014/main" id="{4A2AA220-896F-B585-4CBD-9EF548411CB7}"/>
              </a:ext>
            </a:extLst>
          </p:cNvPr>
          <p:cNvSpPr/>
          <p:nvPr/>
        </p:nvSpPr>
        <p:spPr>
          <a:xfrm>
            <a:off x="-931079" y="1954481"/>
            <a:ext cx="6328528" cy="6328528"/>
          </a:xfrm>
          <a:prstGeom prst="ellipse">
            <a:avLst/>
          </a:prstGeom>
          <a:blipFill>
            <a:blip r:embed="rId5"/>
            <a:srcRect/>
            <a:stretch>
              <a:fillRect l="-11444" t="-40927" r="-66168" b="22518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err="1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ECF0B770-06D6-6172-E872-0928E9F0FD01}"/>
              </a:ext>
            </a:extLst>
          </p:cNvPr>
          <p:cNvSpPr/>
          <p:nvPr/>
        </p:nvSpPr>
        <p:spPr>
          <a:xfrm>
            <a:off x="-931079" y="228600"/>
            <a:ext cx="6328528" cy="8054409"/>
          </a:xfrm>
          <a:prstGeom prst="rect">
            <a:avLst/>
          </a:prstGeom>
          <a:blipFill>
            <a:blip r:embed="rId6"/>
            <a:srcRect/>
            <a:stretch>
              <a:fillRect l="-11444" t="-10730" r="-66168" b="17692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err="1"/>
          </a:p>
        </p:txBody>
      </p:sp>
      <p:pic>
        <p:nvPicPr>
          <p:cNvPr id="6" name="Obrázek 5" descr="Obsah obrázku Grafika, Písmo, logo, snímek obrazovky&#10;&#10;Popis byl vytvořen automaticky">
            <a:extLst>
              <a:ext uri="{FF2B5EF4-FFF2-40B4-BE49-F238E27FC236}">
                <a16:creationId xmlns:a16="http://schemas.microsoft.com/office/drawing/2014/main" id="{ABD13C3B-EF72-4FAC-99A7-4DBD651D53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1212" y="3143334"/>
            <a:ext cx="2179102" cy="1238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25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2">
          <a:extLst>
            <a:ext uri="{FF2B5EF4-FFF2-40B4-BE49-F238E27FC236}">
              <a16:creationId xmlns:a16="http://schemas.microsoft.com/office/drawing/2014/main" id="{58D1E9E5-625E-9C01-D565-AF5E2B1C46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4">
            <a:extLst>
              <a:ext uri="{FF2B5EF4-FFF2-40B4-BE49-F238E27FC236}">
                <a16:creationId xmlns:a16="http://schemas.microsoft.com/office/drawing/2014/main" id="{ECED2151-D6A9-43E3-8A16-9D4F4B2E8A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95325" y="451661"/>
            <a:ext cx="10801350" cy="997196"/>
          </a:xfr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cs-CZ" dirty="0"/>
              <a:t>V roce 2025 banky poskytly úvěry</a:t>
            </a:r>
            <a:br>
              <a:rPr lang="cs-CZ" dirty="0"/>
            </a:br>
            <a:r>
              <a:rPr lang="cs-CZ" dirty="0">
                <a:solidFill>
                  <a:schemeClr val="bg2"/>
                </a:solidFill>
              </a:rPr>
              <a:t>na bydlení v objemu 445 miliard Kč </a:t>
            </a:r>
          </a:p>
        </p:txBody>
      </p:sp>
      <p:sp>
        <p:nvSpPr>
          <p:cNvPr id="105" name="Google Shape;105;p4">
            <a:extLst>
              <a:ext uri="{FF2B5EF4-FFF2-40B4-BE49-F238E27FC236}">
                <a16:creationId xmlns:a16="http://schemas.microsoft.com/office/drawing/2014/main" id="{14977C5E-86F3-7691-A571-98A027C891C6}"/>
              </a:ext>
            </a:extLst>
          </p:cNvPr>
          <p:cNvSpPr txBox="1"/>
          <p:nvPr/>
        </p:nvSpPr>
        <p:spPr>
          <a:xfrm>
            <a:off x="695322" y="6285056"/>
            <a:ext cx="5400677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cs-CZ" sz="1000" b="1" i="0" u="none" strike="noStrike" cap="none" dirty="0">
                <a:solidFill>
                  <a:srgbClr val="8A8A8A"/>
                </a:solidFill>
                <a:ea typeface="Arial"/>
                <a:cs typeface="Arial"/>
                <a:sym typeface="Arial"/>
              </a:rPr>
              <a:t>Zdroj: </a:t>
            </a:r>
            <a:r>
              <a:rPr lang="cs-CZ" sz="1000" b="0" i="0" u="none" strike="noStrike" cap="none" dirty="0">
                <a:solidFill>
                  <a:srgbClr val="8A8A8A"/>
                </a:solidFill>
                <a:ea typeface="Arial"/>
                <a:cs typeface="Arial"/>
                <a:sym typeface="Arial"/>
              </a:rPr>
              <a:t>hypoindex.cz, </a:t>
            </a:r>
            <a:r>
              <a:rPr lang="cs-CZ" sz="1000" b="0" i="0" u="none" strike="noStrike" cap="none" dirty="0" err="1">
                <a:solidFill>
                  <a:srgbClr val="8A8A8A"/>
                </a:solidFill>
                <a:ea typeface="Arial"/>
                <a:cs typeface="Arial"/>
                <a:sym typeface="Arial"/>
              </a:rPr>
              <a:t>Hypomonitor</a:t>
            </a:r>
            <a:r>
              <a:rPr lang="cs-CZ" sz="1000" b="0" i="0" u="none" strike="noStrike" cap="none" dirty="0">
                <a:solidFill>
                  <a:srgbClr val="8A8A8A"/>
                </a:solidFill>
                <a:ea typeface="Arial"/>
                <a:cs typeface="Arial"/>
                <a:sym typeface="Arial"/>
              </a:rPr>
              <a:t>, Asociace českých stavebních </a:t>
            </a:r>
            <a:r>
              <a:rPr lang="cs-CZ" sz="1000" b="0" i="0" u="none" strike="noStrike" cap="none" dirty="0">
                <a:solidFill>
                  <a:schemeClr val="bg1">
                    <a:lumMod val="50000"/>
                  </a:schemeClr>
                </a:solidFill>
                <a:ea typeface="Arial"/>
                <a:cs typeface="Arial"/>
                <a:sym typeface="Arial"/>
              </a:rPr>
              <a:t>spořitelen</a:t>
            </a:r>
            <a:endParaRPr sz="1000" dirty="0"/>
          </a:p>
        </p:txBody>
      </p:sp>
      <p:graphicFrame>
        <p:nvGraphicFramePr>
          <p:cNvPr id="3" name="Google Shape;110;p4">
            <a:extLst>
              <a:ext uri="{FF2B5EF4-FFF2-40B4-BE49-F238E27FC236}">
                <a16:creationId xmlns:a16="http://schemas.microsoft.com/office/drawing/2014/main" id="{5F60120B-D5E1-8FE1-C6E3-778E5D70DEE5}"/>
              </a:ext>
            </a:extLst>
          </p:cNvPr>
          <p:cNvGraphicFramePr/>
          <p:nvPr/>
        </p:nvGraphicFramePr>
        <p:xfrm>
          <a:off x="695323" y="1698205"/>
          <a:ext cx="10801352" cy="45773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Google Shape;107;p4">
            <a:extLst>
              <a:ext uri="{FF2B5EF4-FFF2-40B4-BE49-F238E27FC236}">
                <a16:creationId xmlns:a16="http://schemas.microsoft.com/office/drawing/2014/main" id="{C73C8A15-8B64-6419-180F-CADE79CC7F85}"/>
              </a:ext>
            </a:extLst>
          </p:cNvPr>
          <p:cNvSpPr/>
          <p:nvPr/>
        </p:nvSpPr>
        <p:spPr>
          <a:xfrm>
            <a:off x="695325" y="1909911"/>
            <a:ext cx="217143" cy="217143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none" lIns="360000" tIns="0" rIns="0" bIns="0" anchor="ctr" anchorCtr="0">
            <a:no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cs-CZ" sz="1600">
                <a:solidFill>
                  <a:schemeClr val="dk1"/>
                </a:solidFill>
                <a:latin typeface="Sen" pitchFamily="2" charset="0"/>
                <a:ea typeface="Arial"/>
                <a:cs typeface="Arial"/>
                <a:sym typeface="Arial"/>
              </a:rPr>
              <a:t>Hypoteční úvěry</a:t>
            </a:r>
            <a:endParaRPr dirty="0"/>
          </a:p>
        </p:txBody>
      </p:sp>
      <p:sp>
        <p:nvSpPr>
          <p:cNvPr id="6" name="Google Shape;108;p4">
            <a:extLst>
              <a:ext uri="{FF2B5EF4-FFF2-40B4-BE49-F238E27FC236}">
                <a16:creationId xmlns:a16="http://schemas.microsoft.com/office/drawing/2014/main" id="{330EB1AC-09F1-D748-DE98-2FFB92B3FAA4}"/>
              </a:ext>
            </a:extLst>
          </p:cNvPr>
          <p:cNvSpPr/>
          <p:nvPr/>
        </p:nvSpPr>
        <p:spPr>
          <a:xfrm>
            <a:off x="2957767" y="1909912"/>
            <a:ext cx="217143" cy="2171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none" lIns="360000" tIns="0" rIns="0" bIns="0" anchor="ctr" anchorCtr="0">
            <a:no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cs-CZ" sz="1600">
                <a:solidFill>
                  <a:schemeClr val="dk1"/>
                </a:solidFill>
                <a:latin typeface="Sen" pitchFamily="2" charset="0"/>
                <a:ea typeface="Arial"/>
                <a:cs typeface="Arial"/>
                <a:sym typeface="Arial"/>
              </a:rPr>
              <a:t>Úvěry ze stavebního spoření</a:t>
            </a:r>
            <a:endParaRPr/>
          </a:p>
        </p:txBody>
      </p:sp>
      <p:sp>
        <p:nvSpPr>
          <p:cNvPr id="8" name="Google Shape;109;p4">
            <a:extLst>
              <a:ext uri="{FF2B5EF4-FFF2-40B4-BE49-F238E27FC236}">
                <a16:creationId xmlns:a16="http://schemas.microsoft.com/office/drawing/2014/main" id="{A2345192-6A1C-FFA7-4B92-EE3EE345954E}"/>
              </a:ext>
            </a:extLst>
          </p:cNvPr>
          <p:cNvSpPr txBox="1"/>
          <p:nvPr/>
        </p:nvSpPr>
        <p:spPr>
          <a:xfrm>
            <a:off x="1708202" y="2937416"/>
            <a:ext cx="5668112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cs-CZ" sz="1600" b="1">
                <a:solidFill>
                  <a:schemeClr val="accent1"/>
                </a:solidFill>
                <a:ea typeface="Arial"/>
                <a:cs typeface="Arial"/>
                <a:sym typeface="Arial"/>
              </a:rPr>
              <a:t>Průměrná</a:t>
            </a:r>
            <a:r>
              <a:rPr lang="en-GB" sz="1600" b="1">
                <a:solidFill>
                  <a:schemeClr val="accent1"/>
                </a:solidFill>
                <a:ea typeface="Arial"/>
                <a:cs typeface="Arial"/>
                <a:sym typeface="Arial"/>
              </a:rPr>
              <a:t> </a:t>
            </a:r>
            <a:r>
              <a:rPr lang="cs-CZ" sz="1600" b="1">
                <a:solidFill>
                  <a:schemeClr val="accent1"/>
                </a:solidFill>
                <a:ea typeface="Arial"/>
                <a:cs typeface="Arial"/>
                <a:sym typeface="Arial"/>
              </a:rPr>
              <a:t>tržní úroková sazba</a:t>
            </a:r>
            <a:br>
              <a:rPr lang="cs-CZ" sz="1600" b="1">
                <a:solidFill>
                  <a:schemeClr val="accent1"/>
                </a:solidFill>
                <a:ea typeface="Arial"/>
                <a:cs typeface="Arial"/>
                <a:sym typeface="Arial"/>
              </a:rPr>
            </a:br>
            <a:r>
              <a:rPr lang="cs-CZ" sz="1600" b="1">
                <a:solidFill>
                  <a:schemeClr val="accent1"/>
                </a:solidFill>
                <a:ea typeface="Arial"/>
                <a:cs typeface="Arial"/>
                <a:sym typeface="Arial"/>
              </a:rPr>
              <a:t>hypotečních úvěrů</a:t>
            </a:r>
            <a:endParaRPr/>
          </a:p>
        </p:txBody>
      </p:sp>
      <p:sp>
        <p:nvSpPr>
          <p:cNvPr id="9" name="Google Shape;104;p4">
            <a:extLst>
              <a:ext uri="{FF2B5EF4-FFF2-40B4-BE49-F238E27FC236}">
                <a16:creationId xmlns:a16="http://schemas.microsoft.com/office/drawing/2014/main" id="{287AF8F3-6397-22D3-9BF6-624E7E386BFB}"/>
              </a:ext>
            </a:extLst>
          </p:cNvPr>
          <p:cNvSpPr txBox="1">
            <a:spLocks/>
          </p:cNvSpPr>
          <p:nvPr/>
        </p:nvSpPr>
        <p:spPr>
          <a:xfrm>
            <a:off x="695323" y="1492442"/>
            <a:ext cx="7780461" cy="30469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32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Sen" pitchFamily="2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Clr>
                <a:schemeClr val="dk1"/>
              </a:buClr>
              <a:buSzPts val="1800"/>
              <a:buFont typeface="Arial" panose="020B0604020202020204" pitchFamily="34" charset="0"/>
              <a:buNone/>
            </a:pPr>
            <a:r>
              <a:rPr lang="cs-CZ" sz="1800"/>
              <a:t>Objem úvěrů v miliardách Kč a vývoj průměrné úrokové sazby hypoték</a:t>
            </a:r>
            <a:endParaRPr lang="cs-CZ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B123DA5F-E11C-EFA6-B517-9F9AE1F01E8A}"/>
              </a:ext>
            </a:extLst>
          </p:cNvPr>
          <p:cNvSpPr/>
          <p:nvPr/>
        </p:nvSpPr>
        <p:spPr>
          <a:xfrm>
            <a:off x="-6189503" y="3186952"/>
            <a:ext cx="6720661" cy="3086847"/>
          </a:xfrm>
          <a:prstGeom prst="rect">
            <a:avLst/>
          </a:prstGeom>
          <a:solidFill>
            <a:srgbClr val="F5FA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err="1"/>
          </a:p>
        </p:txBody>
      </p:sp>
      <p:grpSp>
        <p:nvGrpSpPr>
          <p:cNvPr id="4" name="Skupina 3">
            <a:extLst>
              <a:ext uri="{FF2B5EF4-FFF2-40B4-BE49-F238E27FC236}">
                <a16:creationId xmlns:a16="http://schemas.microsoft.com/office/drawing/2014/main" id="{1E662A77-6C2D-33F5-1B2F-5B5FFF26EBEE}"/>
              </a:ext>
            </a:extLst>
          </p:cNvPr>
          <p:cNvGrpSpPr/>
          <p:nvPr/>
        </p:nvGrpSpPr>
        <p:grpSpPr>
          <a:xfrm>
            <a:off x="-7262348" y="2127054"/>
            <a:ext cx="5792753" cy="5533184"/>
            <a:chOff x="-70368" y="1767462"/>
            <a:chExt cx="6513278" cy="6221423"/>
          </a:xfrm>
        </p:grpSpPr>
        <p:sp>
          <p:nvSpPr>
            <p:cNvPr id="7" name="Ovál 6">
              <a:extLst>
                <a:ext uri="{FF2B5EF4-FFF2-40B4-BE49-F238E27FC236}">
                  <a16:creationId xmlns:a16="http://schemas.microsoft.com/office/drawing/2014/main" id="{E4A3D9B6-E320-EAAB-765F-35937D7FB399}"/>
                </a:ext>
              </a:extLst>
            </p:cNvPr>
            <p:cNvSpPr/>
            <p:nvPr/>
          </p:nvSpPr>
          <p:spPr>
            <a:xfrm>
              <a:off x="-65231" y="1772599"/>
              <a:ext cx="6216285" cy="6216286"/>
            </a:xfrm>
            <a:prstGeom prst="ellipse">
              <a:avLst/>
            </a:prstGeom>
            <a:blipFill>
              <a:blip r:embed="rId4"/>
              <a:srcRect/>
              <a:stretch>
                <a:fillRect l="-25364" t="-34780" r="-10575" b="-1159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10" name="Obdélník 9">
              <a:extLst>
                <a:ext uri="{FF2B5EF4-FFF2-40B4-BE49-F238E27FC236}">
                  <a16:creationId xmlns:a16="http://schemas.microsoft.com/office/drawing/2014/main" id="{50F388E3-E6E8-49EA-6368-A042BA14D556}"/>
                </a:ext>
              </a:extLst>
            </p:cNvPr>
            <p:cNvSpPr/>
            <p:nvPr/>
          </p:nvSpPr>
          <p:spPr>
            <a:xfrm>
              <a:off x="-70368" y="1767462"/>
              <a:ext cx="6513278" cy="2455217"/>
            </a:xfrm>
            <a:prstGeom prst="rect">
              <a:avLst/>
            </a:prstGeom>
            <a:blipFill>
              <a:blip r:embed="rId5"/>
              <a:srcRect/>
              <a:stretch>
                <a:fillRect l="-24207" t="-88061" r="-5533" b="-156119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err="1"/>
            </a:p>
          </p:txBody>
        </p:sp>
      </p:grpSp>
    </p:spTree>
    <p:extLst>
      <p:ext uri="{BB962C8B-B14F-4D97-AF65-F5344CB8AC3E}">
        <p14:creationId xmlns:p14="http://schemas.microsoft.com/office/powerpoint/2010/main" val="13782921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CDD35FA4-0FFB-5E20-F29D-5DA47C349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125B2C54-121F-27B3-C933-64CD3AF60C0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4A0C1"/>
              </a:gs>
              <a:gs pos="100000">
                <a:srgbClr val="56BFE9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err="1"/>
          </a:p>
        </p:txBody>
      </p:sp>
      <p:sp>
        <p:nvSpPr>
          <p:cNvPr id="8" name="Google Shape;61;p1">
            <a:extLst>
              <a:ext uri="{FF2B5EF4-FFF2-40B4-BE49-F238E27FC236}">
                <a16:creationId xmlns:a16="http://schemas.microsoft.com/office/drawing/2014/main" id="{931E531F-BE29-F2D7-F7D3-77332449B950}"/>
              </a:ext>
            </a:extLst>
          </p:cNvPr>
          <p:cNvSpPr txBox="1"/>
          <p:nvPr/>
        </p:nvSpPr>
        <p:spPr>
          <a:xfrm>
            <a:off x="7208380" y="2112901"/>
            <a:ext cx="4464139" cy="14542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cs-CZ" sz="3500" b="1" dirty="0">
                <a:solidFill>
                  <a:schemeClr val="bg1"/>
                </a:solidFill>
                <a:latin typeface="+mj-lt"/>
              </a:rPr>
              <a:t>Krajská konference o </a:t>
            </a:r>
            <a:r>
              <a:rPr lang="cs-CZ" sz="3500" b="1" dirty="0">
                <a:solidFill>
                  <a:schemeClr val="bg2"/>
                </a:solidFill>
                <a:latin typeface="+mj-lt"/>
              </a:rPr>
              <a:t>dostupném bydlení a stavebním rozvoji</a:t>
            </a:r>
          </a:p>
        </p:txBody>
      </p:sp>
      <p:sp>
        <p:nvSpPr>
          <p:cNvPr id="9" name="Google Shape;91;p3">
            <a:extLst>
              <a:ext uri="{FF2B5EF4-FFF2-40B4-BE49-F238E27FC236}">
                <a16:creationId xmlns:a16="http://schemas.microsoft.com/office/drawing/2014/main" id="{FC2625A6-1D5B-B941-399C-A2CA098BB565}"/>
              </a:ext>
            </a:extLst>
          </p:cNvPr>
          <p:cNvSpPr txBox="1"/>
          <p:nvPr/>
        </p:nvSpPr>
        <p:spPr>
          <a:xfrm>
            <a:off x="7289947" y="3949383"/>
            <a:ext cx="4720990" cy="109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Arial"/>
              <a:buNone/>
            </a:pPr>
            <a:r>
              <a:rPr lang="cs-CZ" sz="2800" b="1" i="0" u="none" strike="noStrike" cap="none" dirty="0">
                <a:solidFill>
                  <a:schemeClr val="bg2"/>
                </a:solidFill>
                <a:ea typeface="Arial"/>
                <a:cs typeface="Arial"/>
                <a:sym typeface="Arial"/>
              </a:rPr>
              <a:t>Lukáš Flídr</a:t>
            </a:r>
            <a:endParaRPr lang="cs-CZ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lt2"/>
              </a:buClr>
              <a:buSzPts val="2000"/>
              <a:buFont typeface="Arial"/>
            </a:pPr>
            <a:r>
              <a:rPr lang="cs-CZ" sz="2000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Projektový manažer </a:t>
            </a:r>
          </a:p>
          <a:p>
            <a:pPr>
              <a:spcBef>
                <a:spcPts val="200"/>
              </a:spcBef>
              <a:buClr>
                <a:schemeClr val="lt2"/>
              </a:buClr>
              <a:buSzPts val="2000"/>
              <a:buFont typeface="Arial"/>
            </a:pPr>
            <a:r>
              <a:rPr lang="cs-CZ" sz="2000" dirty="0">
                <a:solidFill>
                  <a:schemeClr val="bg1"/>
                </a:solidFill>
                <a:cs typeface="Arial"/>
                <a:sym typeface="Arial"/>
              </a:rPr>
              <a:t>ČSOB </a:t>
            </a:r>
            <a:r>
              <a:rPr lang="cs-CZ" dirty="0" err="1">
                <a:solidFill>
                  <a:schemeClr val="bg1"/>
                </a:solidFill>
                <a:cs typeface="Arial"/>
                <a:sym typeface="Arial"/>
              </a:rPr>
              <a:t>Advisory</a:t>
            </a:r>
            <a:endParaRPr lang="cs-CZ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19" name="Grafický objekt 18">
            <a:extLst>
              <a:ext uri="{FF2B5EF4-FFF2-40B4-BE49-F238E27FC236}">
                <a16:creationId xmlns:a16="http://schemas.microsoft.com/office/drawing/2014/main" id="{651E18E8-5B20-E6FC-E6E8-CB9FE2CA11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78868" y="515041"/>
            <a:ext cx="1717806" cy="1082819"/>
          </a:xfrm>
          <a:prstGeom prst="rect">
            <a:avLst/>
          </a:prstGeom>
        </p:spPr>
      </p:pic>
      <p:grpSp>
        <p:nvGrpSpPr>
          <p:cNvPr id="2" name="Skupina 1">
            <a:extLst>
              <a:ext uri="{FF2B5EF4-FFF2-40B4-BE49-F238E27FC236}">
                <a16:creationId xmlns:a16="http://schemas.microsoft.com/office/drawing/2014/main" id="{1696B737-8DDE-08F0-8767-BA13CBD5C532}"/>
              </a:ext>
            </a:extLst>
          </p:cNvPr>
          <p:cNvGrpSpPr/>
          <p:nvPr/>
        </p:nvGrpSpPr>
        <p:grpSpPr>
          <a:xfrm>
            <a:off x="-789560" y="575745"/>
            <a:ext cx="7478459" cy="7811648"/>
            <a:chOff x="-625928" y="806335"/>
            <a:chExt cx="5486276" cy="5730707"/>
          </a:xfrm>
        </p:grpSpPr>
        <p:sp>
          <p:nvSpPr>
            <p:cNvPr id="3" name="Google Shape;315;p12">
              <a:extLst>
                <a:ext uri="{FF2B5EF4-FFF2-40B4-BE49-F238E27FC236}">
                  <a16:creationId xmlns:a16="http://schemas.microsoft.com/office/drawing/2014/main" id="{5E17CE96-CCF4-E0C3-AA6D-3E385B87DA79}"/>
                </a:ext>
              </a:extLst>
            </p:cNvPr>
            <p:cNvSpPr/>
            <p:nvPr/>
          </p:nvSpPr>
          <p:spPr>
            <a:xfrm>
              <a:off x="-625928" y="1050764"/>
              <a:ext cx="5486276" cy="5486278"/>
            </a:xfrm>
            <a:prstGeom prst="ellipse">
              <a:avLst/>
            </a:prstGeom>
            <a:blipFill>
              <a:blip r:embed="rId5"/>
              <a:srcRect/>
              <a:stretch>
                <a:fillRect l="-45259" t="-16536" r="-29547"/>
              </a:stretch>
            </a:blip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Sen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4" name="Google Shape;315;p12">
              <a:extLst>
                <a:ext uri="{FF2B5EF4-FFF2-40B4-BE49-F238E27FC236}">
                  <a16:creationId xmlns:a16="http://schemas.microsoft.com/office/drawing/2014/main" id="{329723E4-71A5-2723-4C39-7F84C0D5380C}"/>
                </a:ext>
              </a:extLst>
            </p:cNvPr>
            <p:cNvSpPr/>
            <p:nvPr/>
          </p:nvSpPr>
          <p:spPr>
            <a:xfrm>
              <a:off x="-625928" y="806335"/>
              <a:ext cx="5486276" cy="5730707"/>
            </a:xfrm>
            <a:prstGeom prst="rect">
              <a:avLst/>
            </a:prstGeom>
            <a:blipFill>
              <a:blip r:embed="rId6"/>
              <a:srcRect/>
              <a:stretch>
                <a:fillRect l="-45259" t="-11566" r="-29547" b="1"/>
              </a:stretch>
            </a:blip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cs-CZ" sz="1800">
                  <a:solidFill>
                    <a:schemeClr val="lt1"/>
                  </a:solidFill>
                  <a:latin typeface="Sen" pitchFamily="2" charset="0"/>
                  <a:ea typeface="Arial"/>
                  <a:cs typeface="Arial"/>
                  <a:sym typeface="Arial"/>
                </a:rPr>
                <a:t>;</a:t>
              </a:r>
              <a:endParaRPr sz="1800">
                <a:solidFill>
                  <a:schemeClr val="lt1"/>
                </a:solidFill>
                <a:latin typeface="Sen" pitchFamily="2" charset="0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2351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B8267F-7EBC-1FCB-BDFE-AA3A7C9E2F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8FE981D-1C3D-3679-6F23-DBDC98781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Bytové družstvo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6771BCB-8C30-31C0-E5A5-8811F220F9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806054" y="1092788"/>
            <a:ext cx="3948943" cy="498916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cs-CZ" b="1" dirty="0"/>
              <a:t>Neziskový</a:t>
            </a:r>
            <a:r>
              <a:rPr lang="cs-CZ" dirty="0"/>
              <a:t> model bydlení s nákladovou cenou bydlení</a:t>
            </a:r>
          </a:p>
          <a:p>
            <a:r>
              <a:rPr lang="cs-CZ" dirty="0"/>
              <a:t>Zakládají </a:t>
            </a:r>
            <a:r>
              <a:rPr lang="cs-CZ" b="1" dirty="0"/>
              <a:t>3 subjekty</a:t>
            </a:r>
          </a:p>
          <a:p>
            <a:r>
              <a:rPr lang="cs-CZ" dirty="0"/>
              <a:t>Stabilizace obyvatel: </a:t>
            </a:r>
            <a:r>
              <a:rPr lang="cs-CZ" b="1" dirty="0"/>
              <a:t>mladé rodiny, senioři, klíčové profese</a:t>
            </a:r>
          </a:p>
          <a:p>
            <a:r>
              <a:rPr lang="cs-CZ" dirty="0"/>
              <a:t>Vstupní vklad </a:t>
            </a:r>
            <a:r>
              <a:rPr lang="cs-CZ" b="1" dirty="0"/>
              <a:t>20 % ceny</a:t>
            </a:r>
            <a:r>
              <a:rPr lang="cs-CZ" dirty="0"/>
              <a:t> + dlouhodobé splátky přes nájemné družstvu</a:t>
            </a:r>
          </a:p>
          <a:p>
            <a:r>
              <a:rPr lang="cs-CZ" dirty="0"/>
              <a:t>Možnost pozdějšího </a:t>
            </a:r>
            <a:r>
              <a:rPr lang="cs-CZ" b="1" dirty="0"/>
              <a:t>převodu do osobního</a:t>
            </a:r>
            <a:r>
              <a:rPr lang="cs-CZ" dirty="0"/>
              <a:t> </a:t>
            </a:r>
            <a:r>
              <a:rPr lang="cs-CZ" b="1" dirty="0"/>
              <a:t>vlastnictví</a:t>
            </a:r>
            <a:r>
              <a:rPr lang="cs-CZ" dirty="0"/>
              <a:t> po splacení úvěru, ale také možnost města si ponechat trvale v municipálním vlastnictví</a:t>
            </a:r>
          </a:p>
          <a:p>
            <a:endParaRPr lang="cs-CZ" dirty="0"/>
          </a:p>
          <a:p>
            <a:endParaRPr lang="cs-CZ" dirty="0"/>
          </a:p>
        </p:txBody>
      </p:sp>
      <p:graphicFrame>
        <p:nvGraphicFramePr>
          <p:cNvPr id="29" name="Diagram 28">
            <a:extLst>
              <a:ext uri="{FF2B5EF4-FFF2-40B4-BE49-F238E27FC236}">
                <a16:creationId xmlns:a16="http://schemas.microsoft.com/office/drawing/2014/main" id="{C499F0C1-6C70-7B25-65FF-23134468D9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8589610"/>
              </p:ext>
            </p:extLst>
          </p:nvPr>
        </p:nvGraphicFramePr>
        <p:xfrm>
          <a:off x="-278485" y="718894"/>
          <a:ext cx="7929965" cy="5736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26918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F5D1B5-1320-7E4A-A091-AE35E5A13E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13CC4B2-58CA-BC36-96F2-3714CF4BD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51661"/>
            <a:ext cx="10801350" cy="534950"/>
          </a:xfrm>
        </p:spPr>
        <p:txBody>
          <a:bodyPr/>
          <a:lstStyle/>
          <a:p>
            <a:r>
              <a:rPr lang="cs-CZ" b="1" dirty="0">
                <a:solidFill>
                  <a:schemeClr val="bg2"/>
                </a:solidFill>
              </a:rPr>
              <a:t>Bytová družstva </a:t>
            </a:r>
            <a:r>
              <a:rPr lang="cs-CZ" b="1" dirty="0"/>
              <a:t>v Česk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DA0ED499-1B19-1B0E-B61E-DE86F98A1BA2}"/>
              </a:ext>
            </a:extLst>
          </p:cNvPr>
          <p:cNvGrpSpPr/>
          <p:nvPr/>
        </p:nvGrpSpPr>
        <p:grpSpPr>
          <a:xfrm>
            <a:off x="708744" y="1125415"/>
            <a:ext cx="3300548" cy="5732585"/>
            <a:chOff x="708744" y="1125415"/>
            <a:chExt cx="3300548" cy="5732585"/>
          </a:xfrm>
        </p:grpSpPr>
        <p:sp>
          <p:nvSpPr>
            <p:cNvPr id="8" name="Obdélník: se zakulacenými horními rohy 7">
              <a:extLst>
                <a:ext uri="{FF2B5EF4-FFF2-40B4-BE49-F238E27FC236}">
                  <a16:creationId xmlns:a16="http://schemas.microsoft.com/office/drawing/2014/main" id="{D1FE83B8-AC75-7349-E2C7-606464E50B03}"/>
                </a:ext>
              </a:extLst>
            </p:cNvPr>
            <p:cNvSpPr/>
            <p:nvPr/>
          </p:nvSpPr>
          <p:spPr>
            <a:xfrm>
              <a:off x="708744" y="1125415"/>
              <a:ext cx="3300548" cy="5732585"/>
            </a:xfrm>
            <a:prstGeom prst="round2SameRect">
              <a:avLst>
                <a:gd name="adj1" fmla="val 12856"/>
                <a:gd name="adj2" fmla="val 0"/>
              </a:avLst>
            </a:prstGeom>
            <a:gradFill flip="none" rotWithShape="1">
              <a:gsLst>
                <a:gs pos="0">
                  <a:schemeClr val="tx2">
                    <a:alpha val="0"/>
                  </a:schemeClr>
                </a:gs>
                <a:gs pos="100000">
                  <a:schemeClr val="tx2">
                    <a:alpha val="12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0" rtlCol="0" anchor="t"/>
            <a:lstStyle/>
            <a:p>
              <a:r>
                <a:rPr lang="cs-CZ" b="1" dirty="0">
                  <a:solidFill>
                    <a:srgbClr val="003366"/>
                  </a:solidFill>
                </a:rPr>
                <a:t>Bytová družstva</a:t>
              </a:r>
              <a:br>
                <a:rPr lang="cs-CZ" b="1" dirty="0">
                  <a:solidFill>
                    <a:srgbClr val="003366"/>
                  </a:solidFill>
                </a:rPr>
              </a:br>
              <a:r>
                <a:rPr lang="cs-CZ" b="1" dirty="0">
                  <a:solidFill>
                    <a:schemeClr val="tx2"/>
                  </a:solidFill>
                </a:rPr>
                <a:t>vs. SVJ</a:t>
              </a:r>
              <a:endParaRPr lang="cs-CZ" dirty="0">
                <a:solidFill>
                  <a:schemeClr val="tx1"/>
                </a:solidFill>
              </a:endParaRPr>
            </a:p>
          </p:txBody>
        </p:sp>
        <p:graphicFrame>
          <p:nvGraphicFramePr>
            <p:cNvPr id="84" name="Graf 83">
              <a:extLst>
                <a:ext uri="{FF2B5EF4-FFF2-40B4-BE49-F238E27FC236}">
                  <a16:creationId xmlns:a16="http://schemas.microsoft.com/office/drawing/2014/main" id="{317715D8-02FB-81DA-0079-93B8C73B3B2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49478290"/>
                </p:ext>
              </p:extLst>
            </p:nvPr>
          </p:nvGraphicFramePr>
          <p:xfrm>
            <a:off x="708744" y="2032001"/>
            <a:ext cx="3300548" cy="421493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7" name="TextovéPole 6">
            <a:extLst>
              <a:ext uri="{FF2B5EF4-FFF2-40B4-BE49-F238E27FC236}">
                <a16:creationId xmlns:a16="http://schemas.microsoft.com/office/drawing/2014/main" id="{BF7FE731-0385-94EE-12B8-896C221BC138}"/>
              </a:ext>
            </a:extLst>
          </p:cNvPr>
          <p:cNvSpPr txBox="1"/>
          <p:nvPr/>
        </p:nvSpPr>
        <p:spPr>
          <a:xfrm>
            <a:off x="10671014" y="6286500"/>
            <a:ext cx="673261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cs-CZ" sz="1050" dirty="0">
                <a:solidFill>
                  <a:schemeClr val="bg1">
                    <a:lumMod val="50000"/>
                  </a:schemeClr>
                </a:solidFill>
              </a:rPr>
              <a:t>Zdroj: </a:t>
            </a:r>
            <a:r>
              <a:rPr lang="en-GB" sz="1050" dirty="0">
                <a:solidFill>
                  <a:schemeClr val="bg1">
                    <a:lumMod val="50000"/>
                  </a:schemeClr>
                </a:solidFill>
              </a:rPr>
              <a:t>ČSÚ</a:t>
            </a:r>
            <a:endParaRPr lang="cs-CZ" sz="105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03CD1AAB-37D7-D936-2774-A120CE6BA920}"/>
              </a:ext>
            </a:extLst>
          </p:cNvPr>
          <p:cNvGrpSpPr/>
          <p:nvPr/>
        </p:nvGrpSpPr>
        <p:grpSpPr>
          <a:xfrm>
            <a:off x="4420326" y="1125415"/>
            <a:ext cx="3325948" cy="5732585"/>
            <a:chOff x="4420326" y="1125415"/>
            <a:chExt cx="3325948" cy="5732585"/>
          </a:xfrm>
        </p:grpSpPr>
        <p:sp>
          <p:nvSpPr>
            <p:cNvPr id="9" name="Obdélník: se zakulacenými horními rohy 8">
              <a:extLst>
                <a:ext uri="{FF2B5EF4-FFF2-40B4-BE49-F238E27FC236}">
                  <a16:creationId xmlns:a16="http://schemas.microsoft.com/office/drawing/2014/main" id="{900720F5-5F27-7E6E-FF8B-D856A7FDF08E}"/>
                </a:ext>
              </a:extLst>
            </p:cNvPr>
            <p:cNvSpPr/>
            <p:nvPr/>
          </p:nvSpPr>
          <p:spPr>
            <a:xfrm>
              <a:off x="4445726" y="1125415"/>
              <a:ext cx="3300548" cy="5732585"/>
            </a:xfrm>
            <a:prstGeom prst="round2SameRect">
              <a:avLst>
                <a:gd name="adj1" fmla="val 12856"/>
                <a:gd name="adj2" fmla="val 0"/>
              </a:avLst>
            </a:prstGeom>
            <a:gradFill flip="none" rotWithShape="1">
              <a:gsLst>
                <a:gs pos="0">
                  <a:schemeClr val="tx2">
                    <a:alpha val="0"/>
                  </a:schemeClr>
                </a:gs>
                <a:gs pos="100000">
                  <a:schemeClr val="tx2">
                    <a:alpha val="12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0" rtlCol="0" anchor="t"/>
            <a:lstStyle/>
            <a:p>
              <a:r>
                <a:rPr lang="cs-CZ" b="1" dirty="0">
                  <a:solidFill>
                    <a:schemeClr val="bg2"/>
                  </a:solidFill>
                </a:rPr>
                <a:t>Podíl bytových družstev</a:t>
              </a:r>
              <a:br>
                <a:rPr lang="cs-CZ" b="1" dirty="0">
                  <a:solidFill>
                    <a:schemeClr val="bg2"/>
                  </a:solidFill>
                </a:rPr>
              </a:br>
              <a:r>
                <a:rPr lang="cs-CZ" b="1" dirty="0">
                  <a:solidFill>
                    <a:schemeClr val="bg2"/>
                  </a:solidFill>
                </a:rPr>
                <a:t>na bytovém fondu</a:t>
              </a:r>
            </a:p>
          </p:txBody>
        </p:sp>
        <p:graphicFrame>
          <p:nvGraphicFramePr>
            <p:cNvPr id="11" name="Graf 10">
              <a:extLst>
                <a:ext uri="{FF2B5EF4-FFF2-40B4-BE49-F238E27FC236}">
                  <a16:creationId xmlns:a16="http://schemas.microsoft.com/office/drawing/2014/main" id="{4C4631B5-3656-ED0B-D39B-69AF4DBA32D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74333232"/>
                </p:ext>
              </p:extLst>
            </p:nvPr>
          </p:nvGraphicFramePr>
          <p:xfrm>
            <a:off x="4420326" y="2382619"/>
            <a:ext cx="3300548" cy="34971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4" name="TextovéPole 13">
              <a:extLst>
                <a:ext uri="{FF2B5EF4-FFF2-40B4-BE49-F238E27FC236}">
                  <a16:creationId xmlns:a16="http://schemas.microsoft.com/office/drawing/2014/main" id="{0B3BC189-56DF-0EC0-D1B2-7996E3F085C5}"/>
                </a:ext>
              </a:extLst>
            </p:cNvPr>
            <p:cNvSpPr txBox="1"/>
            <p:nvPr/>
          </p:nvSpPr>
          <p:spPr>
            <a:xfrm>
              <a:off x="6159500" y="2096917"/>
              <a:ext cx="1561374" cy="9848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l" rtl="0">
                <a:defRPr sz="2000" b="1" i="0" u="none" strike="noStrike" kern="1200" spc="0" baseline="0">
                  <a:solidFill>
                    <a:srgbClr val="003366"/>
                  </a:solidFill>
                  <a:latin typeface="+mn-lt"/>
                  <a:ea typeface="+mn-ea"/>
                  <a:cs typeface="+mn-cs"/>
                </a:defRPr>
              </a:pPr>
              <a:fld id="{CFC61001-175E-45FA-9286-19EBD1C645CC}" type="VALUE">
                <a:rPr lang="cs-CZ" sz="2800" b="1" noProof="0" smtClean="0">
                  <a:solidFill>
                    <a:schemeClr val="bg2"/>
                  </a:solidFill>
                  <a:latin typeface="+mn-lt"/>
                </a:rPr>
                <a:pPr algn="l" rtl="0">
                  <a:defRPr sz="2000" b="1" i="0" u="none" strike="noStrike" kern="1200" spc="0" baseline="0">
                    <a:solidFill>
                      <a:srgbClr val="003366"/>
                    </a:solidFill>
                    <a:latin typeface="+mn-lt"/>
                    <a:ea typeface="+mn-ea"/>
                    <a:cs typeface="+mn-cs"/>
                  </a:defRPr>
                </a:pPr>
                <a:t>9,4 %</a:t>
              </a:fld>
              <a:br>
                <a:rPr lang="cs-CZ" sz="2000" b="1" noProof="0" dirty="0">
                  <a:solidFill>
                    <a:schemeClr val="bg2"/>
                  </a:solidFill>
                  <a:latin typeface="+mn-lt"/>
                </a:rPr>
              </a:br>
              <a:r>
                <a:rPr lang="cs-CZ" sz="1800" b="1" noProof="0" dirty="0">
                  <a:solidFill>
                    <a:schemeClr val="bg2"/>
                  </a:solidFill>
                  <a:latin typeface="+mn-lt"/>
                </a:rPr>
                <a:t>Družstevní</a:t>
              </a:r>
              <a:br>
                <a:rPr lang="cs-CZ" b="1" noProof="0" dirty="0">
                  <a:solidFill>
                    <a:schemeClr val="bg2"/>
                  </a:solidFill>
                </a:rPr>
              </a:br>
              <a:r>
                <a:rPr lang="cs-CZ" sz="1800" b="1" noProof="0" dirty="0">
                  <a:solidFill>
                    <a:schemeClr val="bg2"/>
                  </a:solidFill>
                  <a:latin typeface="+mn-lt"/>
                </a:rPr>
                <a:t>byty</a:t>
              </a:r>
              <a:endParaRPr lang="cs-CZ" sz="2000" b="1" noProof="0" dirty="0">
                <a:solidFill>
                  <a:schemeClr val="bg2"/>
                </a:solidFill>
                <a:latin typeface="+mn-lt"/>
              </a:endParaRPr>
            </a:p>
          </p:txBody>
        </p:sp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E1DF2B71-59AA-21BF-9FAD-70742ECAFF19}"/>
                </a:ext>
              </a:extLst>
            </p:cNvPr>
            <p:cNvSpPr txBox="1"/>
            <p:nvPr/>
          </p:nvSpPr>
          <p:spPr>
            <a:xfrm>
              <a:off x="4718036" y="5428985"/>
              <a:ext cx="1561374" cy="27699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l" rtl="0">
                <a:defRPr sz="2000" b="1" i="0" u="none" strike="noStrike" kern="1200" spc="0" baseline="0">
                  <a:solidFill>
                    <a:srgbClr val="003366"/>
                  </a:solidFill>
                  <a:latin typeface="+mn-lt"/>
                  <a:ea typeface="+mn-ea"/>
                  <a:cs typeface="+mn-cs"/>
                </a:defRPr>
              </a:pPr>
              <a:r>
                <a:rPr lang="cs-CZ" sz="1800" b="1" noProof="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Ostatní byty</a:t>
              </a:r>
              <a:endParaRPr lang="cs-CZ" sz="2000" b="1" noProof="0" dirty="0">
                <a:solidFill>
                  <a:schemeClr val="bg1">
                    <a:lumMod val="50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828ED3A-E098-5E14-FBDD-9F40A25A5B5D}"/>
              </a:ext>
            </a:extLst>
          </p:cNvPr>
          <p:cNvGrpSpPr/>
          <p:nvPr/>
        </p:nvGrpSpPr>
        <p:grpSpPr>
          <a:xfrm>
            <a:off x="8196127" y="1125415"/>
            <a:ext cx="3300548" cy="5732585"/>
            <a:chOff x="8196127" y="1125415"/>
            <a:chExt cx="3300548" cy="5732585"/>
          </a:xfrm>
        </p:grpSpPr>
        <p:sp>
          <p:nvSpPr>
            <p:cNvPr id="10" name="Obdélník: se zakulacenými horními rohy 9">
              <a:extLst>
                <a:ext uri="{FF2B5EF4-FFF2-40B4-BE49-F238E27FC236}">
                  <a16:creationId xmlns:a16="http://schemas.microsoft.com/office/drawing/2014/main" id="{C28505EB-FF35-A3A8-91CB-13F5EE5BB849}"/>
                </a:ext>
              </a:extLst>
            </p:cNvPr>
            <p:cNvSpPr/>
            <p:nvPr/>
          </p:nvSpPr>
          <p:spPr>
            <a:xfrm>
              <a:off x="8196127" y="1125415"/>
              <a:ext cx="3300548" cy="5732585"/>
            </a:xfrm>
            <a:prstGeom prst="round2SameRect">
              <a:avLst>
                <a:gd name="adj1" fmla="val 12856"/>
                <a:gd name="adj2" fmla="val 0"/>
              </a:avLst>
            </a:prstGeom>
            <a:gradFill flip="none" rotWithShape="1">
              <a:gsLst>
                <a:gs pos="0">
                  <a:schemeClr val="tx2">
                    <a:alpha val="0"/>
                  </a:schemeClr>
                </a:gs>
                <a:gs pos="100000">
                  <a:schemeClr val="tx2">
                    <a:alpha val="12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b="1" dirty="0">
                  <a:solidFill>
                    <a:srgbClr val="003366"/>
                  </a:solidFill>
                </a:rPr>
                <a:t>Podíl obyvatel</a:t>
              </a:r>
              <a:br>
                <a:rPr lang="cs-CZ" b="1" dirty="0">
                  <a:solidFill>
                    <a:srgbClr val="003366"/>
                  </a:solidFill>
                </a:rPr>
              </a:br>
              <a:r>
                <a:rPr lang="cs-CZ" b="1" dirty="0">
                  <a:solidFill>
                    <a:srgbClr val="003366"/>
                  </a:solidFill>
                </a:rPr>
                <a:t>v družstevním bydlení</a:t>
              </a:r>
            </a:p>
          </p:txBody>
        </p:sp>
        <p:graphicFrame>
          <p:nvGraphicFramePr>
            <p:cNvPr id="16" name="Graf 15">
              <a:extLst>
                <a:ext uri="{FF2B5EF4-FFF2-40B4-BE49-F238E27FC236}">
                  <a16:creationId xmlns:a16="http://schemas.microsoft.com/office/drawing/2014/main" id="{58419DA2-20CD-B185-FEFE-33EF7A0EEAB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66439244"/>
                </p:ext>
              </p:extLst>
            </p:nvPr>
          </p:nvGraphicFramePr>
          <p:xfrm>
            <a:off x="8196127" y="2177383"/>
            <a:ext cx="3300548" cy="40695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92348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06BBC6B-CAC6-8307-E3A9-00DB37203F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roč by mělo město volit právě </a:t>
            </a:r>
            <a:r>
              <a:rPr lang="cs-CZ" b="1" dirty="0">
                <a:solidFill>
                  <a:schemeClr val="bg2"/>
                </a:solidFill>
              </a:rPr>
              <a:t>družstvo</a:t>
            </a:r>
            <a:r>
              <a:rPr lang="cs-CZ" b="1" dirty="0"/>
              <a:t>?</a:t>
            </a:r>
          </a:p>
        </p:txBody>
      </p:sp>
      <p:sp>
        <p:nvSpPr>
          <p:cNvPr id="6" name="Obdélník: se zakulacenými horními rohy 5">
            <a:extLst>
              <a:ext uri="{FF2B5EF4-FFF2-40B4-BE49-F238E27FC236}">
                <a16:creationId xmlns:a16="http://schemas.microsoft.com/office/drawing/2014/main" id="{1A61DC3A-C4D0-4C3C-A7EB-126CA461832C}"/>
              </a:ext>
            </a:extLst>
          </p:cNvPr>
          <p:cNvSpPr/>
          <p:nvPr/>
        </p:nvSpPr>
        <p:spPr>
          <a:xfrm>
            <a:off x="466797" y="1115028"/>
            <a:ext cx="11258405" cy="4880575"/>
          </a:xfrm>
          <a:prstGeom prst="round2SameRect">
            <a:avLst>
              <a:gd name="adj1" fmla="val 7525"/>
              <a:gd name="adj2" fmla="val 0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tx2">
                  <a:alpha val="12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" rIns="144000" bIns="0" rtlCol="0" anchor="t"/>
          <a:lstStyle/>
          <a:p>
            <a:pPr marL="263525" indent="-263525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endParaRPr lang="cs-CZ" sz="1600" dirty="0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27B7A45-7C88-4191-8C76-5BAAA3CB39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63247" y="1307608"/>
            <a:ext cx="7633428" cy="4968875"/>
          </a:xfrm>
        </p:spPr>
        <p:txBody>
          <a:bodyPr/>
          <a:lstStyle/>
          <a:p>
            <a:pPr algn="just"/>
            <a:r>
              <a:rPr lang="cs-CZ" b="1" dirty="0">
                <a:solidFill>
                  <a:schemeClr val="bg2"/>
                </a:solidFill>
              </a:rPr>
              <a:t>Zvýšení dostupnosti bydlení</a:t>
            </a:r>
            <a:r>
              <a:rPr lang="cs-CZ" dirty="0"/>
              <a:t>: družstevní model může pomoci nabídnout bydlení za nižší náklady než klasická tržní výstavba, protože není primárně založen na zisku developera.</a:t>
            </a:r>
            <a:endParaRPr dirty="0"/>
          </a:p>
          <a:p>
            <a:pPr algn="just"/>
            <a:r>
              <a:rPr lang="cs-CZ" b="1" dirty="0">
                <a:solidFill>
                  <a:schemeClr val="bg2"/>
                </a:solidFill>
              </a:rPr>
              <a:t>Sdílení finančního rizika a nákladů</a:t>
            </a:r>
            <a:r>
              <a:rPr lang="cs-CZ" dirty="0"/>
              <a:t>: výstavbu a provoz domu financuje </a:t>
            </a:r>
            <a:br>
              <a:rPr lang="cs-CZ" dirty="0"/>
            </a:br>
            <a:r>
              <a:rPr lang="cs-CZ" dirty="0"/>
              <a:t>z velké části samotné družstvo (např. prostřednictvím úvěru a členských vkladů), takže město nemusí nést všechny investiční náklady.</a:t>
            </a:r>
          </a:p>
          <a:p>
            <a:pPr algn="just"/>
            <a:r>
              <a:rPr lang="cs-CZ" b="1" dirty="0">
                <a:solidFill>
                  <a:schemeClr val="bg2"/>
                </a:solidFill>
              </a:rPr>
              <a:t>Flexibilita při realizaci projektů: </a:t>
            </a:r>
            <a:r>
              <a:rPr lang="cs-CZ" dirty="0"/>
              <a:t>družstevní model lze kombinovat </a:t>
            </a:r>
            <a:br>
              <a:rPr lang="cs-CZ" dirty="0"/>
            </a:br>
            <a:r>
              <a:rPr lang="cs-CZ" dirty="0"/>
              <a:t>s různými formami spolupráce (např. s městem, investory nebo developery) a přizpůsobit ho místním podmínkám.</a:t>
            </a:r>
          </a:p>
          <a:p>
            <a:pPr algn="just"/>
            <a:r>
              <a:rPr lang="cs-CZ" b="1" dirty="0">
                <a:solidFill>
                  <a:schemeClr val="bg2"/>
                </a:solidFill>
              </a:rPr>
              <a:t>Možnost strategického využití městských pozemků</a:t>
            </a:r>
            <a:r>
              <a:rPr lang="cs-CZ" dirty="0"/>
              <a:t>: město může využít vlastní pozemky pro rozvoj bydlení, aniž by je muselo trvale prodat </a:t>
            </a:r>
            <a:br>
              <a:rPr lang="cs-CZ" dirty="0"/>
            </a:br>
            <a:r>
              <a:rPr lang="cs-CZ" dirty="0"/>
              <a:t>na trhu.</a:t>
            </a:r>
          </a:p>
          <a:p>
            <a:pPr algn="just"/>
            <a:r>
              <a:rPr lang="cs-CZ" b="1" dirty="0">
                <a:solidFill>
                  <a:schemeClr val="bg2"/>
                </a:solidFill>
              </a:rPr>
              <a:t>Menší dlouhodobá provozní zátěž pro město</a:t>
            </a:r>
            <a:r>
              <a:rPr lang="cs-CZ" dirty="0"/>
              <a:t>: správu a běžný provoz domu zajišťuje družstvo, nikoli město, což snižuje administrativní </a:t>
            </a:r>
            <a:br>
              <a:rPr lang="cs-CZ" dirty="0"/>
            </a:br>
            <a:r>
              <a:rPr lang="cs-CZ" dirty="0"/>
              <a:t>i organizační nároky.</a:t>
            </a:r>
          </a:p>
          <a:p>
            <a:pPr algn="just"/>
            <a:endParaRPr dirty="0"/>
          </a:p>
        </p:txBody>
      </p:sp>
      <p:sp>
        <p:nvSpPr>
          <p:cNvPr id="9" name="Freeform 17">
            <a:extLst>
              <a:ext uri="{FF2B5EF4-FFF2-40B4-BE49-F238E27FC236}">
                <a16:creationId xmlns:a16="http://schemas.microsoft.com/office/drawing/2014/main" id="{FB67B0CA-DB43-4FCA-8E2D-55EDA8C22490}"/>
              </a:ext>
            </a:extLst>
          </p:cNvPr>
          <p:cNvSpPr/>
          <p:nvPr/>
        </p:nvSpPr>
        <p:spPr>
          <a:xfrm>
            <a:off x="921312" y="2390661"/>
            <a:ext cx="2713408" cy="2655710"/>
          </a:xfrm>
          <a:custGeom>
            <a:avLst/>
            <a:gdLst/>
            <a:ahLst/>
            <a:cxnLst/>
            <a:rect l="l" t="t" r="r" b="b"/>
            <a:pathLst>
              <a:path w="3478454" h="2858657">
                <a:moveTo>
                  <a:pt x="0" y="0"/>
                </a:moveTo>
                <a:lnTo>
                  <a:pt x="3478454" y="0"/>
                </a:lnTo>
                <a:lnTo>
                  <a:pt x="3478454" y="2858657"/>
                </a:lnTo>
                <a:lnTo>
                  <a:pt x="0" y="2858657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30804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: se zakulacenými horními rohy 4">
            <a:extLst>
              <a:ext uri="{FF2B5EF4-FFF2-40B4-BE49-F238E27FC236}">
                <a16:creationId xmlns:a16="http://schemas.microsoft.com/office/drawing/2014/main" id="{27C6089C-1AF8-AA96-7193-D97EDB73AE1A}"/>
              </a:ext>
            </a:extLst>
          </p:cNvPr>
          <p:cNvSpPr/>
          <p:nvPr/>
        </p:nvSpPr>
        <p:spPr>
          <a:xfrm>
            <a:off x="466797" y="1324349"/>
            <a:ext cx="11258405" cy="4880575"/>
          </a:xfrm>
          <a:prstGeom prst="round2SameRect">
            <a:avLst>
              <a:gd name="adj1" fmla="val 7525"/>
              <a:gd name="adj2" fmla="val 0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tx2">
                  <a:alpha val="12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" rIns="144000" bIns="0" rtlCol="0" anchor="t"/>
          <a:lstStyle/>
          <a:p>
            <a:pPr marL="263525" indent="-263525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endParaRPr lang="cs-CZ" sz="16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/>
              <a:t>Jak </a:t>
            </a:r>
            <a:r>
              <a:rPr b="1" dirty="0" err="1"/>
              <a:t>může</a:t>
            </a:r>
            <a:r>
              <a:rPr b="1" dirty="0"/>
              <a:t> </a:t>
            </a:r>
            <a:r>
              <a:rPr b="1" dirty="0" err="1">
                <a:solidFill>
                  <a:schemeClr val="bg2"/>
                </a:solidFill>
              </a:rPr>
              <a:t>město</a:t>
            </a:r>
            <a:r>
              <a:rPr b="1" dirty="0"/>
              <a:t> </a:t>
            </a:r>
            <a:r>
              <a:rPr b="1" dirty="0" err="1"/>
              <a:t>spolupracovat</a:t>
            </a:r>
            <a:r>
              <a:rPr b="1" dirty="0"/>
              <a:t> s </a:t>
            </a:r>
            <a:r>
              <a:rPr b="1" dirty="0" err="1"/>
              <a:t>družstvem</a:t>
            </a:r>
            <a:r>
              <a:rPr lang="cs-CZ" b="1" dirty="0"/>
              <a:t>?</a:t>
            </a:r>
            <a:endParaRPr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324" y="1715232"/>
            <a:ext cx="3469051" cy="4968875"/>
          </a:xfrm>
        </p:spPr>
        <p:txBody>
          <a:bodyPr/>
          <a:lstStyle/>
          <a:p>
            <a:r>
              <a:rPr b="1" dirty="0" err="1">
                <a:solidFill>
                  <a:schemeClr val="bg2"/>
                </a:solidFill>
              </a:rPr>
              <a:t>Pozemek</a:t>
            </a:r>
            <a:r>
              <a:rPr dirty="0"/>
              <a:t>: </a:t>
            </a:r>
            <a:r>
              <a:rPr dirty="0" err="1"/>
              <a:t>prodej</a:t>
            </a:r>
            <a:r>
              <a:rPr dirty="0"/>
              <a:t> s </a:t>
            </a:r>
            <a:r>
              <a:rPr dirty="0" err="1"/>
              <a:t>odloženou</a:t>
            </a:r>
            <a:r>
              <a:rPr dirty="0"/>
              <a:t> </a:t>
            </a:r>
            <a:r>
              <a:rPr dirty="0" err="1"/>
              <a:t>splatností</a:t>
            </a:r>
            <a:r>
              <a:rPr dirty="0"/>
              <a:t> / </a:t>
            </a:r>
            <a:r>
              <a:rPr dirty="0" err="1"/>
              <a:t>vklad</a:t>
            </a:r>
            <a:r>
              <a:rPr dirty="0"/>
              <a:t> / </a:t>
            </a:r>
            <a:r>
              <a:rPr dirty="0" err="1"/>
              <a:t>dlouhodobý</a:t>
            </a:r>
            <a:r>
              <a:rPr dirty="0"/>
              <a:t> </a:t>
            </a:r>
            <a:r>
              <a:rPr dirty="0" err="1"/>
              <a:t>pronájem</a:t>
            </a:r>
            <a:r>
              <a:rPr dirty="0"/>
              <a:t> (</a:t>
            </a:r>
            <a:r>
              <a:rPr dirty="0" err="1"/>
              <a:t>právo</a:t>
            </a:r>
            <a:r>
              <a:rPr dirty="0"/>
              <a:t> </a:t>
            </a:r>
            <a:r>
              <a:rPr dirty="0" err="1"/>
              <a:t>stavby</a:t>
            </a:r>
            <a:r>
              <a:rPr dirty="0"/>
              <a:t>)</a:t>
            </a:r>
            <a:r>
              <a:rPr lang="cs-CZ" dirty="0"/>
              <a:t>.</a:t>
            </a:r>
            <a:endParaRPr dirty="0"/>
          </a:p>
          <a:p>
            <a:r>
              <a:rPr b="1" dirty="0" err="1">
                <a:solidFill>
                  <a:schemeClr val="bg2"/>
                </a:solidFill>
              </a:rPr>
              <a:t>Finanční</a:t>
            </a:r>
            <a:r>
              <a:rPr b="1" dirty="0">
                <a:solidFill>
                  <a:schemeClr val="bg2"/>
                </a:solidFill>
              </a:rPr>
              <a:t> </a:t>
            </a:r>
            <a:r>
              <a:rPr b="1" dirty="0" err="1">
                <a:solidFill>
                  <a:schemeClr val="bg2"/>
                </a:solidFill>
              </a:rPr>
              <a:t>nástroje</a:t>
            </a:r>
            <a:r>
              <a:rPr dirty="0"/>
              <a:t>: </a:t>
            </a:r>
            <a:r>
              <a:rPr dirty="0" err="1"/>
              <a:t>garance</a:t>
            </a:r>
            <a:r>
              <a:rPr dirty="0"/>
              <a:t>, </a:t>
            </a:r>
            <a:r>
              <a:rPr dirty="0" err="1"/>
              <a:t>dotace</a:t>
            </a:r>
            <a:r>
              <a:rPr dirty="0"/>
              <a:t> </a:t>
            </a:r>
            <a:r>
              <a:rPr dirty="0" err="1"/>
              <a:t>na</a:t>
            </a:r>
            <a:r>
              <a:rPr dirty="0"/>
              <a:t> PD </a:t>
            </a:r>
            <a:r>
              <a:rPr dirty="0" err="1"/>
              <a:t>či</a:t>
            </a:r>
            <a:r>
              <a:rPr dirty="0"/>
              <a:t> </a:t>
            </a:r>
            <a:r>
              <a:rPr dirty="0" err="1"/>
              <a:t>infrastrukturu</a:t>
            </a:r>
            <a:r>
              <a:rPr dirty="0"/>
              <a:t>, </a:t>
            </a:r>
            <a:r>
              <a:rPr dirty="0" err="1"/>
              <a:t>úvěr</a:t>
            </a:r>
            <a:r>
              <a:rPr dirty="0"/>
              <a:t> pro BD</a:t>
            </a:r>
            <a:r>
              <a:rPr lang="cs-CZ" dirty="0"/>
              <a:t>.</a:t>
            </a:r>
            <a:endParaRPr dirty="0"/>
          </a:p>
          <a:p>
            <a:r>
              <a:rPr b="1" dirty="0">
                <a:solidFill>
                  <a:schemeClr val="bg2"/>
                </a:solidFill>
              </a:rPr>
              <a:t>Role </a:t>
            </a:r>
            <a:r>
              <a:rPr b="1" dirty="0" err="1">
                <a:solidFill>
                  <a:schemeClr val="bg2"/>
                </a:solidFill>
              </a:rPr>
              <a:t>facilitátora</a:t>
            </a:r>
            <a:r>
              <a:rPr dirty="0"/>
              <a:t>: </a:t>
            </a:r>
            <a:r>
              <a:rPr dirty="0" err="1"/>
              <a:t>komunikace</a:t>
            </a:r>
            <a:r>
              <a:rPr dirty="0"/>
              <a:t> s </a:t>
            </a:r>
            <a:r>
              <a:rPr dirty="0" err="1"/>
              <a:t>bankami</a:t>
            </a:r>
            <a:r>
              <a:rPr dirty="0"/>
              <a:t>, </a:t>
            </a:r>
            <a:r>
              <a:rPr dirty="0" err="1"/>
              <a:t>nastavení</a:t>
            </a:r>
            <a:r>
              <a:rPr dirty="0"/>
              <a:t> </a:t>
            </a:r>
            <a:r>
              <a:rPr dirty="0" err="1"/>
              <a:t>kritérií</a:t>
            </a:r>
            <a:r>
              <a:rPr dirty="0"/>
              <a:t> </a:t>
            </a:r>
            <a:r>
              <a:rPr dirty="0" err="1"/>
              <a:t>přidělování</a:t>
            </a:r>
            <a:r>
              <a:rPr lang="cs-CZ" dirty="0"/>
              <a:t>.</a:t>
            </a:r>
            <a:endParaRPr dirty="0"/>
          </a:p>
          <a:p>
            <a:r>
              <a:rPr b="1" dirty="0" err="1">
                <a:solidFill>
                  <a:schemeClr val="bg2"/>
                </a:solidFill>
              </a:rPr>
              <a:t>Spoluzaložení</a:t>
            </a:r>
            <a:r>
              <a:rPr lang="cs-CZ" dirty="0"/>
              <a:t>: </a:t>
            </a:r>
            <a:r>
              <a:rPr dirty="0"/>
              <a:t>BD a </a:t>
            </a:r>
            <a:r>
              <a:rPr dirty="0" err="1"/>
              <a:t>dočasná</a:t>
            </a:r>
            <a:r>
              <a:rPr dirty="0"/>
              <a:t> </a:t>
            </a:r>
            <a:r>
              <a:rPr dirty="0" err="1"/>
              <a:t>účast</a:t>
            </a:r>
            <a:r>
              <a:rPr dirty="0"/>
              <a:t> v </a:t>
            </a:r>
            <a:r>
              <a:rPr dirty="0" err="1"/>
              <a:t>orgánech</a:t>
            </a:r>
            <a:r>
              <a:rPr dirty="0"/>
              <a:t> (</a:t>
            </a:r>
            <a:r>
              <a:rPr dirty="0" err="1"/>
              <a:t>kontrolní</a:t>
            </a:r>
            <a:r>
              <a:rPr dirty="0"/>
              <a:t> </a:t>
            </a:r>
            <a:r>
              <a:rPr dirty="0" err="1"/>
              <a:t>funkce</a:t>
            </a:r>
            <a:r>
              <a:rPr dirty="0"/>
              <a:t>)</a:t>
            </a:r>
            <a:r>
              <a:rPr lang="cs-CZ" dirty="0"/>
              <a:t>.</a:t>
            </a:r>
            <a:endParaRPr dirty="0"/>
          </a:p>
        </p:txBody>
      </p:sp>
      <p:sp>
        <p:nvSpPr>
          <p:cNvPr id="6" name="Freeform 18">
            <a:extLst>
              <a:ext uri="{FF2B5EF4-FFF2-40B4-BE49-F238E27FC236}">
                <a16:creationId xmlns:a16="http://schemas.microsoft.com/office/drawing/2014/main" id="{BBFC569D-A64F-4731-9169-6F0B5E8172C2}"/>
              </a:ext>
            </a:extLst>
          </p:cNvPr>
          <p:cNvSpPr/>
          <p:nvPr/>
        </p:nvSpPr>
        <p:spPr>
          <a:xfrm>
            <a:off x="4771929" y="2401878"/>
            <a:ext cx="6511395" cy="2054244"/>
          </a:xfrm>
          <a:custGeom>
            <a:avLst/>
            <a:gdLst/>
            <a:ahLst/>
            <a:cxnLst/>
            <a:rect l="l" t="t" r="r" b="b"/>
            <a:pathLst>
              <a:path w="7315200" h="2478024">
                <a:moveTo>
                  <a:pt x="0" y="0"/>
                </a:moveTo>
                <a:lnTo>
                  <a:pt x="7315200" y="0"/>
                </a:lnTo>
                <a:lnTo>
                  <a:pt x="7315200" y="2478024"/>
                </a:lnTo>
                <a:lnTo>
                  <a:pt x="0" y="24780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cs-CZ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: se zakulacenými horními rohy 6">
            <a:extLst>
              <a:ext uri="{FF2B5EF4-FFF2-40B4-BE49-F238E27FC236}">
                <a16:creationId xmlns:a16="http://schemas.microsoft.com/office/drawing/2014/main" id="{F06B0041-045D-307B-9693-C1301F04D469}"/>
              </a:ext>
            </a:extLst>
          </p:cNvPr>
          <p:cNvSpPr/>
          <p:nvPr/>
        </p:nvSpPr>
        <p:spPr>
          <a:xfrm>
            <a:off x="6554918" y="5101069"/>
            <a:ext cx="5436571" cy="2181411"/>
          </a:xfrm>
          <a:prstGeom prst="round2SameRect">
            <a:avLst>
              <a:gd name="adj1" fmla="val 7525"/>
              <a:gd name="adj2" fmla="val 0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tx2">
                  <a:alpha val="12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" rIns="144000" bIns="0" rtlCol="0" anchor="t"/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endParaRPr lang="cs-CZ" sz="1600" dirty="0">
              <a:solidFill>
                <a:schemeClr val="tx1"/>
              </a:solidFill>
            </a:endParaRPr>
          </a:p>
        </p:txBody>
      </p:sp>
      <p:sp>
        <p:nvSpPr>
          <p:cNvPr id="6" name="Obdélník: se zakulacenými horními rohy 5">
            <a:extLst>
              <a:ext uri="{FF2B5EF4-FFF2-40B4-BE49-F238E27FC236}">
                <a16:creationId xmlns:a16="http://schemas.microsoft.com/office/drawing/2014/main" id="{DCCAEDFD-A9DD-3B96-392C-C77115426DF3}"/>
              </a:ext>
            </a:extLst>
          </p:cNvPr>
          <p:cNvSpPr/>
          <p:nvPr/>
        </p:nvSpPr>
        <p:spPr>
          <a:xfrm>
            <a:off x="6554919" y="958396"/>
            <a:ext cx="5436571" cy="2181411"/>
          </a:xfrm>
          <a:prstGeom prst="round2SameRect">
            <a:avLst>
              <a:gd name="adj1" fmla="val 7525"/>
              <a:gd name="adj2" fmla="val 0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tx2">
                  <a:alpha val="12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" rIns="144000" bIns="0" rtlCol="0" anchor="t"/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endParaRPr lang="cs-CZ" sz="1600" dirty="0">
              <a:solidFill>
                <a:schemeClr val="tx1"/>
              </a:solidFill>
            </a:endParaRPr>
          </a:p>
        </p:txBody>
      </p:sp>
      <p:sp>
        <p:nvSpPr>
          <p:cNvPr id="5" name="Obdélník: se zakulacenými horními rohy 4">
            <a:extLst>
              <a:ext uri="{FF2B5EF4-FFF2-40B4-BE49-F238E27FC236}">
                <a16:creationId xmlns:a16="http://schemas.microsoft.com/office/drawing/2014/main" id="{49A8FE66-DBC2-D035-E241-B5255C1ED225}"/>
              </a:ext>
            </a:extLst>
          </p:cNvPr>
          <p:cNvSpPr/>
          <p:nvPr/>
        </p:nvSpPr>
        <p:spPr>
          <a:xfrm>
            <a:off x="200509" y="958396"/>
            <a:ext cx="6174140" cy="5871388"/>
          </a:xfrm>
          <a:prstGeom prst="round2SameRect">
            <a:avLst>
              <a:gd name="adj1" fmla="val 7525"/>
              <a:gd name="adj2" fmla="val 0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tx2">
                  <a:alpha val="12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" rIns="144000" bIns="0" rtlCol="0" anchor="t"/>
          <a:lstStyle/>
          <a:p>
            <a:pPr marL="263525" indent="-263525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endParaRPr lang="cs-CZ" sz="1600" dirty="0">
              <a:solidFill>
                <a:schemeClr val="tx1"/>
              </a:solidFill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2224C8F-17DF-89D4-9BC7-91EDBE23D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Jak MŮŽE SPOLUPRACOVAT </a:t>
            </a:r>
            <a:r>
              <a:rPr lang="cs-CZ" b="1" dirty="0">
                <a:solidFill>
                  <a:schemeClr val="bg2"/>
                </a:solidFill>
              </a:rPr>
              <a:t>BANKA</a:t>
            </a:r>
            <a:r>
              <a:rPr lang="cs-CZ" b="1" dirty="0"/>
              <a:t> S DRUŽSTVEM?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F80DDFC-DF12-84BC-E756-B0FD8CEC0C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92171" y="1033571"/>
            <a:ext cx="5782477" cy="5158204"/>
          </a:xfrm>
        </p:spPr>
        <p:txBody>
          <a:bodyPr/>
          <a:lstStyle/>
          <a:p>
            <a:pPr marL="0" indent="0">
              <a:buNone/>
            </a:pPr>
            <a:r>
              <a:rPr lang="cs-CZ" b="1" dirty="0">
                <a:solidFill>
                  <a:schemeClr val="bg2"/>
                </a:solidFill>
              </a:rPr>
              <a:t>ČSOB </a:t>
            </a:r>
            <a:r>
              <a:rPr lang="cs-CZ" b="1" dirty="0" err="1">
                <a:solidFill>
                  <a:schemeClr val="bg2"/>
                </a:solidFill>
              </a:rPr>
              <a:t>Advisory</a:t>
            </a:r>
            <a:endParaRPr lang="cs-CZ" b="1" dirty="0">
              <a:solidFill>
                <a:schemeClr val="bg2"/>
              </a:solidFill>
            </a:endParaRPr>
          </a:p>
          <a:p>
            <a:pPr>
              <a:spcBef>
                <a:spcPts val="600"/>
              </a:spcBef>
            </a:pPr>
            <a:r>
              <a:rPr lang="cs-CZ" dirty="0"/>
              <a:t>Provedeme vás procesem výběru vhodné varianty podpory bydlení a dále i samotnou přípravou vhodné varianty. </a:t>
            </a:r>
          </a:p>
          <a:p>
            <a:pPr>
              <a:spcBef>
                <a:spcPts val="600"/>
              </a:spcBef>
            </a:pPr>
            <a:r>
              <a:rPr lang="cs-CZ" dirty="0"/>
              <a:t>Připravíme pro vás modelové postupy pro zajištění dostupného bydlení. </a:t>
            </a:r>
          </a:p>
          <a:p>
            <a:pPr>
              <a:spcBef>
                <a:spcPts val="600"/>
              </a:spcBef>
            </a:pPr>
            <a:r>
              <a:rPr lang="cs-CZ" dirty="0"/>
              <a:t>Provedeme vás předběžnými tržními konzultacemi. </a:t>
            </a:r>
          </a:p>
          <a:p>
            <a:pPr>
              <a:spcBef>
                <a:spcPts val="600"/>
              </a:spcBef>
            </a:pPr>
            <a:r>
              <a:rPr lang="cs-CZ" dirty="0"/>
              <a:t>Poskytneme ekonomicko-právní poradenství ve vazbě na posouzení možnosti realizace a financování záměru. </a:t>
            </a:r>
          </a:p>
          <a:p>
            <a:pPr>
              <a:spcBef>
                <a:spcPts val="600"/>
              </a:spcBef>
            </a:pPr>
            <a:r>
              <a:rPr lang="cs-CZ" dirty="0"/>
              <a:t>Zpracujeme posouzení budoucího finančního postavení a výkonnosti municipality (analýzu finanční stability). </a:t>
            </a:r>
          </a:p>
          <a:p>
            <a:pPr>
              <a:spcBef>
                <a:spcPts val="600"/>
              </a:spcBef>
            </a:pPr>
            <a:r>
              <a:rPr lang="cs-CZ" dirty="0"/>
              <a:t>Sestavíme interaktivní finanční model budoucího fungování obce i projektu. </a:t>
            </a:r>
          </a:p>
          <a:p>
            <a:endParaRPr lang="cs-CZ" dirty="0"/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459B8ED-BC47-92C6-E059-752FF98916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60682" y="1115597"/>
            <a:ext cx="4835992" cy="2313404"/>
          </a:xfrm>
        </p:spPr>
        <p:txBody>
          <a:bodyPr/>
          <a:lstStyle/>
          <a:p>
            <a:pPr marL="0" indent="0">
              <a:buNone/>
            </a:pPr>
            <a:r>
              <a:rPr lang="cs-CZ" b="1" dirty="0">
                <a:solidFill>
                  <a:schemeClr val="bg2"/>
                </a:solidFill>
              </a:rPr>
              <a:t>Financování družstevníků</a:t>
            </a:r>
          </a:p>
          <a:p>
            <a:r>
              <a:rPr lang="cs-CZ" dirty="0"/>
              <a:t>Družstevníci vkládají 20 % vlastních zdrojů a zbývajících 80 % si půjčuje na finančním trhu</a:t>
            </a:r>
          </a:p>
          <a:p>
            <a:r>
              <a:rPr lang="cs-CZ" dirty="0"/>
              <a:t>Stavební spořitelna umí nabídnout úvěr na vlastní zdroje družstevníka</a:t>
            </a:r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chemeClr val="bg2"/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chemeClr val="bg2"/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chemeClr val="bg2"/>
              </a:solidFill>
            </a:endParaRPr>
          </a:p>
          <a:p>
            <a:pPr marL="0" indent="0">
              <a:buNone/>
            </a:pPr>
            <a:r>
              <a:rPr lang="cs-CZ" b="1" dirty="0">
                <a:solidFill>
                  <a:schemeClr val="bg2"/>
                </a:solidFill>
              </a:rPr>
              <a:t>Financování družstev </a:t>
            </a:r>
            <a:endParaRPr lang="cs-CZ" dirty="0"/>
          </a:p>
          <a:p>
            <a:r>
              <a:rPr lang="cs-CZ" dirty="0">
                <a:solidFill>
                  <a:schemeClr val="tx1">
                    <a:lumMod val="50000"/>
                  </a:schemeClr>
                </a:solidFill>
              </a:rPr>
              <a:t>Banka je připravena financovat družstevní projekty nejrůznějšího designu</a:t>
            </a:r>
          </a:p>
        </p:txBody>
      </p:sp>
      <p:sp>
        <p:nvSpPr>
          <p:cNvPr id="8" name="Freeform 16">
            <a:extLst>
              <a:ext uri="{FF2B5EF4-FFF2-40B4-BE49-F238E27FC236}">
                <a16:creationId xmlns:a16="http://schemas.microsoft.com/office/drawing/2014/main" id="{BE40FA91-2EEB-4FF1-A635-03955CFB3C34}"/>
              </a:ext>
            </a:extLst>
          </p:cNvPr>
          <p:cNvSpPr/>
          <p:nvPr/>
        </p:nvSpPr>
        <p:spPr>
          <a:xfrm>
            <a:off x="7374040" y="3304314"/>
            <a:ext cx="3798326" cy="1382875"/>
          </a:xfrm>
          <a:custGeom>
            <a:avLst/>
            <a:gdLst/>
            <a:ahLst/>
            <a:cxnLst/>
            <a:rect l="l" t="t" r="r" b="b"/>
            <a:pathLst>
              <a:path w="4876406" h="1974945">
                <a:moveTo>
                  <a:pt x="0" y="0"/>
                </a:moveTo>
                <a:lnTo>
                  <a:pt x="4876406" y="0"/>
                </a:lnTo>
                <a:lnTo>
                  <a:pt x="4876406" y="1974945"/>
                </a:lnTo>
                <a:lnTo>
                  <a:pt x="0" y="1974945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7084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98CF62-EBC6-59E1-B128-F1BCDD7B41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5FADDBB-A71F-CAEC-2C74-12A51A1EC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51661"/>
            <a:ext cx="10801350" cy="534950"/>
          </a:xfrm>
        </p:spPr>
        <p:txBody>
          <a:bodyPr/>
          <a:lstStyle/>
          <a:p>
            <a:pPr algn="ctr"/>
            <a:r>
              <a:rPr lang="cs-CZ" b="1" dirty="0"/>
              <a:t>Ilustrační příklady </a:t>
            </a:r>
            <a:r>
              <a:rPr lang="cs-CZ" b="1" dirty="0">
                <a:solidFill>
                  <a:schemeClr val="bg2"/>
                </a:solidFill>
              </a:rPr>
              <a:t>| Financování</a:t>
            </a:r>
          </a:p>
        </p:txBody>
      </p:sp>
      <p:sp>
        <p:nvSpPr>
          <p:cNvPr id="5" name="Obdélník: se zakulacenými horními rohy 4">
            <a:extLst>
              <a:ext uri="{FF2B5EF4-FFF2-40B4-BE49-F238E27FC236}">
                <a16:creationId xmlns:a16="http://schemas.microsoft.com/office/drawing/2014/main" id="{A663FB6A-EF29-EBAD-AAFE-A3BB693E4717}"/>
              </a:ext>
            </a:extLst>
          </p:cNvPr>
          <p:cNvSpPr/>
          <p:nvPr/>
        </p:nvSpPr>
        <p:spPr>
          <a:xfrm>
            <a:off x="-318655" y="1410056"/>
            <a:ext cx="6196439" cy="5447943"/>
          </a:xfrm>
          <a:prstGeom prst="round2SameRect">
            <a:avLst>
              <a:gd name="adj1" fmla="val 7525"/>
              <a:gd name="adj2" fmla="val 0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tx2">
                  <a:alpha val="12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" rIns="144000" bIns="0" rtlCol="0" anchor="t"/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cs-CZ" sz="2000" b="1" dirty="0">
                <a:solidFill>
                  <a:schemeClr val="accent1">
                    <a:lumMod val="75000"/>
                  </a:schemeClr>
                </a:solidFill>
              </a:rPr>
              <a:t>Družstevní bydlení</a:t>
            </a:r>
          </a:p>
          <a:p>
            <a:pPr marL="263525" indent="-263525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cs-CZ" sz="1600" dirty="0">
                <a:solidFill>
                  <a:schemeClr val="tx1"/>
                </a:solidFill>
              </a:rPr>
              <a:t>Ušetřených </a:t>
            </a:r>
            <a:r>
              <a:rPr lang="cs-CZ" sz="1600" b="1" dirty="0">
                <a:solidFill>
                  <a:schemeClr val="tx1"/>
                </a:solidFill>
              </a:rPr>
              <a:t>500 000 Kč</a:t>
            </a:r>
            <a:r>
              <a:rPr lang="cs-CZ" sz="1600" dirty="0">
                <a:solidFill>
                  <a:schemeClr val="tx1"/>
                </a:solidFill>
              </a:rPr>
              <a:t> klient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dirty="0">
                <a:solidFill>
                  <a:schemeClr val="tx1"/>
                </a:solidFill>
              </a:rPr>
              <a:t>použije na zařízení či úpravy bydlení</a:t>
            </a:r>
            <a:r>
              <a:rPr lang="cs-CZ" sz="1600" dirty="0"/>
              <a:t>.</a:t>
            </a:r>
          </a:p>
          <a:p>
            <a:pPr marL="263525" indent="-263525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endParaRPr lang="cs-CZ" sz="1600" dirty="0">
              <a:solidFill>
                <a:schemeClr val="tx1"/>
              </a:solidFill>
            </a:endParaRPr>
          </a:p>
        </p:txBody>
      </p:sp>
      <p:sp>
        <p:nvSpPr>
          <p:cNvPr id="20" name="Obdélník: se zakulacenými horními rohy 19">
            <a:extLst>
              <a:ext uri="{FF2B5EF4-FFF2-40B4-BE49-F238E27FC236}">
                <a16:creationId xmlns:a16="http://schemas.microsoft.com/office/drawing/2014/main" id="{1C3469A6-208F-DF4C-4216-F177BC0BA866}"/>
              </a:ext>
            </a:extLst>
          </p:cNvPr>
          <p:cNvSpPr/>
          <p:nvPr/>
        </p:nvSpPr>
        <p:spPr>
          <a:xfrm>
            <a:off x="6314215" y="1410055"/>
            <a:ext cx="6196439" cy="5447943"/>
          </a:xfrm>
          <a:prstGeom prst="round2SameRect">
            <a:avLst>
              <a:gd name="adj1" fmla="val 7525"/>
              <a:gd name="adj2" fmla="val 0"/>
            </a:avLst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tx2">
                  <a:alpha val="12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14400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2B800"/>
              </a:buClr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n"/>
                <a:ea typeface="+mn-ea"/>
                <a:cs typeface="+mn-cs"/>
              </a:rPr>
              <a:t>Osobní vlastnictví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en"/>
              <a:ea typeface="+mn-ea"/>
              <a:cs typeface="+mn-cs"/>
            </a:endParaRPr>
          </a:p>
          <a:p>
            <a:pPr marL="263525" indent="-263525">
              <a:spcAft>
                <a:spcPts val="600"/>
              </a:spcAft>
              <a:buClr>
                <a:schemeClr val="accent2"/>
              </a:buClr>
              <a:buFont typeface="Sen" pitchFamily="2" charset="0"/>
              <a:buChar char="x"/>
              <a:defRPr/>
            </a:pPr>
            <a:r>
              <a:rPr lang="cs-CZ" sz="1600" dirty="0">
                <a:solidFill>
                  <a:srgbClr val="3C3C3C"/>
                </a:solidFill>
              </a:rPr>
              <a:t>Ušetřených </a:t>
            </a:r>
            <a:r>
              <a:rPr lang="cs-CZ" sz="1600" b="1" dirty="0">
                <a:solidFill>
                  <a:schemeClr val="tx1"/>
                </a:solidFill>
              </a:rPr>
              <a:t>500 000 Kč </a:t>
            </a:r>
            <a:r>
              <a:rPr lang="cs-CZ" sz="1600" dirty="0">
                <a:solidFill>
                  <a:srgbClr val="3C3C3C"/>
                </a:solidFill>
              </a:rPr>
              <a:t>klient použije</a:t>
            </a:r>
            <a:br>
              <a:rPr lang="cs-CZ" sz="1600" dirty="0">
                <a:solidFill>
                  <a:srgbClr val="3C3C3C"/>
                </a:solidFill>
              </a:rPr>
            </a:br>
            <a:r>
              <a:rPr lang="cs-CZ" sz="1600" dirty="0">
                <a:solidFill>
                  <a:srgbClr val="3C3C3C"/>
                </a:solidFill>
              </a:rPr>
              <a:t>na 10% akontaci pro získání hypotečního úvěru.</a:t>
            </a:r>
          </a:p>
          <a:p>
            <a:pPr marL="263525" marR="0" lvl="0" indent="-263525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Sen" pitchFamily="2" charset="0"/>
              <a:buChar char="x"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n"/>
              <a:ea typeface="+mn-ea"/>
              <a:cs typeface="+mn-cs"/>
            </a:endParaRPr>
          </a:p>
        </p:txBody>
      </p:sp>
      <p:graphicFrame>
        <p:nvGraphicFramePr>
          <p:cNvPr id="34" name="Google Shape;110;p4">
            <a:extLst>
              <a:ext uri="{FF2B5EF4-FFF2-40B4-BE49-F238E27FC236}">
                <a16:creationId xmlns:a16="http://schemas.microsoft.com/office/drawing/2014/main" id="{0FA34705-5466-5E65-0332-7E492D7A5A6C}"/>
              </a:ext>
            </a:extLst>
          </p:cNvPr>
          <p:cNvGraphicFramePr/>
          <p:nvPr/>
        </p:nvGraphicFramePr>
        <p:xfrm>
          <a:off x="2699881" y="2320310"/>
          <a:ext cx="6792238" cy="3851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" name="TextovéPole 35">
            <a:extLst>
              <a:ext uri="{FF2B5EF4-FFF2-40B4-BE49-F238E27FC236}">
                <a16:creationId xmlns:a16="http://schemas.microsoft.com/office/drawing/2014/main" id="{2EB44C1F-A4DF-86F3-2825-05C2E39AA7D5}"/>
              </a:ext>
            </a:extLst>
          </p:cNvPr>
          <p:cNvSpPr txBox="1"/>
          <p:nvPr/>
        </p:nvSpPr>
        <p:spPr>
          <a:xfrm>
            <a:off x="693705" y="2821766"/>
            <a:ext cx="2859120" cy="9694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050" dirty="0">
                <a:solidFill>
                  <a:schemeClr val="tx2"/>
                </a:solidFill>
              </a:rPr>
              <a:t>Klient zaplatí 20% členský vklad </a:t>
            </a:r>
            <a:r>
              <a:rPr lang="cs-CZ" sz="1050" b="1" dirty="0">
                <a:solidFill>
                  <a:schemeClr val="tx2"/>
                </a:solidFill>
              </a:rPr>
              <a:t>úvěrem </a:t>
            </a:r>
          </a:p>
          <a:p>
            <a:r>
              <a:rPr lang="cs-CZ" sz="1050" b="1" dirty="0">
                <a:solidFill>
                  <a:schemeClr val="tx2"/>
                </a:solidFill>
              </a:rPr>
              <a:t>ze stavebního spoření ve výši 1 000 000 Kč </a:t>
            </a:r>
            <a:r>
              <a:rPr lang="cs-CZ" sz="1050" dirty="0">
                <a:solidFill>
                  <a:schemeClr val="tx2"/>
                </a:solidFill>
              </a:rPr>
              <a:t>na 20 let s úrokovou sazbou 4,99 %.</a:t>
            </a:r>
          </a:p>
          <a:p>
            <a:r>
              <a:rPr lang="cs-CZ" sz="1050" dirty="0">
                <a:solidFill>
                  <a:schemeClr val="tx2"/>
                </a:solidFill>
              </a:rPr>
              <a:t>Měsíční splátka je 6 258 Kč v rámci meziúvěru (cca 11,5 roku) a v rámci</a:t>
            </a:r>
            <a:br>
              <a:rPr lang="cs-CZ" sz="1050" dirty="0">
                <a:solidFill>
                  <a:schemeClr val="tx2"/>
                </a:solidFill>
              </a:rPr>
            </a:br>
            <a:r>
              <a:rPr lang="cs-CZ" sz="1050" dirty="0">
                <a:solidFill>
                  <a:schemeClr val="tx2"/>
                </a:solidFill>
              </a:rPr>
              <a:t>úvěru 8 700 Kč (cca 8,5 let).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CE0375CA-3D7A-E4A5-3FAD-E0F89048680E}"/>
              </a:ext>
            </a:extLst>
          </p:cNvPr>
          <p:cNvSpPr txBox="1"/>
          <p:nvPr/>
        </p:nvSpPr>
        <p:spPr>
          <a:xfrm>
            <a:off x="694934" y="3977691"/>
            <a:ext cx="2579304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050" dirty="0">
                <a:solidFill>
                  <a:schemeClr val="bg2"/>
                </a:solidFill>
              </a:rPr>
              <a:t>Klient zbylé </a:t>
            </a:r>
            <a:r>
              <a:rPr lang="cs-CZ" sz="1050" b="1" dirty="0">
                <a:solidFill>
                  <a:schemeClr val="bg2"/>
                </a:solidFill>
              </a:rPr>
              <a:t>4 000 000 Kč platí formou nájemného </a:t>
            </a:r>
            <a:r>
              <a:rPr lang="cs-CZ" sz="1050" dirty="0">
                <a:solidFill>
                  <a:schemeClr val="bg2"/>
                </a:solidFill>
              </a:rPr>
              <a:t>družstvu se splatností</a:t>
            </a:r>
            <a:br>
              <a:rPr lang="cs-CZ" sz="1050" dirty="0">
                <a:solidFill>
                  <a:schemeClr val="bg2"/>
                </a:solidFill>
              </a:rPr>
            </a:br>
            <a:r>
              <a:rPr lang="cs-CZ" sz="1050" dirty="0">
                <a:solidFill>
                  <a:schemeClr val="bg2"/>
                </a:solidFill>
              </a:rPr>
              <a:t>35 let a úrokovou sazbou 4,99 %.</a:t>
            </a:r>
            <a:br>
              <a:rPr lang="cs-CZ" sz="1050" dirty="0">
                <a:solidFill>
                  <a:schemeClr val="bg2"/>
                </a:solidFill>
              </a:rPr>
            </a:br>
            <a:r>
              <a:rPr lang="cs-CZ" sz="1050" dirty="0">
                <a:solidFill>
                  <a:schemeClr val="bg2"/>
                </a:solidFill>
              </a:rPr>
              <a:t>Měsíční nájemné je 20 162 Kč.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679971EA-A3EC-D48E-7F35-9510DBC440B9}"/>
              </a:ext>
            </a:extLst>
          </p:cNvPr>
          <p:cNvSpPr txBox="1"/>
          <p:nvPr/>
        </p:nvSpPr>
        <p:spPr>
          <a:xfrm>
            <a:off x="8600252" y="2908395"/>
            <a:ext cx="2829748" cy="6463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buClr>
                <a:schemeClr val="bg2"/>
              </a:buClr>
            </a:pPr>
            <a:r>
              <a:rPr lang="cs-CZ" sz="1050" dirty="0">
                <a:solidFill>
                  <a:schemeClr val="tx2"/>
                </a:solidFill>
              </a:rPr>
              <a:t>Klient na zařízení či úpravy bydlení využije </a:t>
            </a:r>
            <a:r>
              <a:rPr lang="cs-CZ" sz="1050" b="1" dirty="0">
                <a:solidFill>
                  <a:schemeClr val="tx2"/>
                </a:solidFill>
              </a:rPr>
              <a:t>spotřebitelský úvěr ve výši 500 000 Kč </a:t>
            </a:r>
          </a:p>
          <a:p>
            <a:pPr>
              <a:buClr>
                <a:schemeClr val="bg2"/>
              </a:buClr>
            </a:pPr>
            <a:r>
              <a:rPr lang="cs-CZ" sz="1050" dirty="0">
                <a:solidFill>
                  <a:schemeClr val="tx2"/>
                </a:solidFill>
              </a:rPr>
              <a:t>na 8 let s úrokovou sazbou 8,11 %.</a:t>
            </a:r>
          </a:p>
          <a:p>
            <a:pPr>
              <a:buClr>
                <a:schemeClr val="bg2"/>
              </a:buClr>
            </a:pPr>
            <a:r>
              <a:rPr lang="cs-CZ" sz="1050" dirty="0">
                <a:solidFill>
                  <a:schemeClr val="tx2"/>
                </a:solidFill>
              </a:rPr>
              <a:t>Měsíční splátka 7 096 Kč. 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24D63786-88E6-94C1-4AD2-3B05316E16C0}"/>
              </a:ext>
            </a:extLst>
          </p:cNvPr>
          <p:cNvSpPr txBox="1"/>
          <p:nvPr/>
        </p:nvSpPr>
        <p:spPr>
          <a:xfrm>
            <a:off x="8600252" y="3847039"/>
            <a:ext cx="3038657" cy="5078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cs-CZ" sz="1100" dirty="0">
                <a:solidFill>
                  <a:schemeClr val="bg2"/>
                </a:solidFill>
              </a:rPr>
              <a:t>Na zbylých 90 % si klient půjčí hypotéku </a:t>
            </a:r>
          </a:p>
          <a:p>
            <a:r>
              <a:rPr lang="cs-CZ" sz="1100" dirty="0">
                <a:solidFill>
                  <a:schemeClr val="bg2"/>
                </a:solidFill>
              </a:rPr>
              <a:t>s úrokovou sazbou 4,89 % ve výši </a:t>
            </a:r>
            <a:r>
              <a:rPr lang="cs-CZ" sz="1100" b="1" dirty="0">
                <a:solidFill>
                  <a:schemeClr val="bg2"/>
                </a:solidFill>
              </a:rPr>
              <a:t>4 500 000 Kč</a:t>
            </a:r>
            <a:br>
              <a:rPr lang="cs-CZ" sz="1100" b="1" dirty="0">
                <a:solidFill>
                  <a:schemeClr val="bg2"/>
                </a:solidFill>
              </a:rPr>
            </a:br>
            <a:r>
              <a:rPr lang="cs-CZ" sz="1100" b="1" dirty="0">
                <a:solidFill>
                  <a:schemeClr val="bg2"/>
                </a:solidFill>
              </a:rPr>
              <a:t>s měsíční splátkou</a:t>
            </a:r>
            <a:r>
              <a:rPr lang="cs-CZ" sz="1100" dirty="0">
                <a:solidFill>
                  <a:schemeClr val="bg2"/>
                </a:solidFill>
              </a:rPr>
              <a:t> na 30 let ve výši 23 855 Kč.</a:t>
            </a:r>
          </a:p>
        </p:txBody>
      </p:sp>
      <p:sp>
        <p:nvSpPr>
          <p:cNvPr id="10" name="Volný tvar: obrazec 9">
            <a:extLst>
              <a:ext uri="{FF2B5EF4-FFF2-40B4-BE49-F238E27FC236}">
                <a16:creationId xmlns:a16="http://schemas.microsoft.com/office/drawing/2014/main" id="{7377926C-C52E-53E7-F295-4BC059EED054}"/>
              </a:ext>
            </a:extLst>
          </p:cNvPr>
          <p:cNvSpPr/>
          <p:nvPr/>
        </p:nvSpPr>
        <p:spPr>
          <a:xfrm>
            <a:off x="4361809" y="2659245"/>
            <a:ext cx="2791359" cy="178128"/>
          </a:xfrm>
          <a:custGeom>
            <a:avLst/>
            <a:gdLst>
              <a:gd name="csX0" fmla="*/ 0 w 2714625"/>
              <a:gd name="csY0" fmla="*/ 152400 h 152400"/>
              <a:gd name="csX1" fmla="*/ 0 w 2714625"/>
              <a:gd name="csY1" fmla="*/ 0 h 152400"/>
              <a:gd name="csX2" fmla="*/ 2714625 w 2714625"/>
              <a:gd name="csY2" fmla="*/ 0 h 1524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14625" h="152400">
                <a:moveTo>
                  <a:pt x="0" y="152400"/>
                </a:moveTo>
                <a:lnTo>
                  <a:pt x="0" y="0"/>
                </a:lnTo>
                <a:lnTo>
                  <a:pt x="2714625" y="0"/>
                </a:ln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25759A50-1DBB-758B-4DC3-D44B40F41FD0}"/>
              </a:ext>
            </a:extLst>
          </p:cNvPr>
          <p:cNvSpPr txBox="1"/>
          <p:nvPr/>
        </p:nvSpPr>
        <p:spPr>
          <a:xfrm>
            <a:off x="5449096" y="2496854"/>
            <a:ext cx="1273472" cy="34051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txBody>
          <a:bodyPr wrap="none" lIns="36000" tIns="0" rIns="36000" bIns="0" rtlCol="0" anchor="t">
            <a:spAutoFit/>
          </a:bodyPr>
          <a:lstStyle/>
          <a:p>
            <a:pPr algn="ctr">
              <a:buClr>
                <a:schemeClr val="bg2"/>
              </a:buClr>
            </a:pPr>
            <a:r>
              <a:rPr lang="cs-CZ" sz="2000" b="1" dirty="0">
                <a:solidFill>
                  <a:schemeClr val="bg1"/>
                </a:solidFill>
              </a:rPr>
              <a:t>+4 531 Kč</a:t>
            </a:r>
          </a:p>
        </p:txBody>
      </p:sp>
      <p:sp>
        <p:nvSpPr>
          <p:cNvPr id="13" name="TextovéPole 30">
            <a:extLst>
              <a:ext uri="{FF2B5EF4-FFF2-40B4-BE49-F238E27FC236}">
                <a16:creationId xmlns:a16="http://schemas.microsoft.com/office/drawing/2014/main" id="{2A52B592-7021-AE18-AB9A-05798BA59117}"/>
              </a:ext>
            </a:extLst>
          </p:cNvPr>
          <p:cNvSpPr txBox="1"/>
          <p:nvPr/>
        </p:nvSpPr>
        <p:spPr>
          <a:xfrm>
            <a:off x="2448205" y="972932"/>
            <a:ext cx="7295586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bg2"/>
              </a:buClr>
            </a:pPr>
            <a:r>
              <a:rPr lang="cs-CZ" b="1" dirty="0"/>
              <a:t>Klient má ušetřeno 0,5 milionu Kč | Cena bytu je 5 milionů Kč</a:t>
            </a:r>
          </a:p>
        </p:txBody>
      </p:sp>
      <p:graphicFrame>
        <p:nvGraphicFramePr>
          <p:cNvPr id="14" name="Google Shape;110;p4">
            <a:extLst>
              <a:ext uri="{FF2B5EF4-FFF2-40B4-BE49-F238E27FC236}">
                <a16:creationId xmlns:a16="http://schemas.microsoft.com/office/drawing/2014/main" id="{8A4A69B9-4A57-E9C5-A2C6-934BDBD72E43}"/>
              </a:ext>
            </a:extLst>
          </p:cNvPr>
          <p:cNvGraphicFramePr/>
          <p:nvPr/>
        </p:nvGraphicFramePr>
        <p:xfrm>
          <a:off x="2689713" y="5162962"/>
          <a:ext cx="6792238" cy="1347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Volný tvar: obrazec 14">
            <a:extLst>
              <a:ext uri="{FF2B5EF4-FFF2-40B4-BE49-F238E27FC236}">
                <a16:creationId xmlns:a16="http://schemas.microsoft.com/office/drawing/2014/main" id="{9F67E9F5-CD4E-29A2-089A-4C7E52F64B9D}"/>
              </a:ext>
            </a:extLst>
          </p:cNvPr>
          <p:cNvSpPr/>
          <p:nvPr/>
        </p:nvSpPr>
        <p:spPr>
          <a:xfrm>
            <a:off x="4361809" y="5343202"/>
            <a:ext cx="2619562" cy="336824"/>
          </a:xfrm>
          <a:custGeom>
            <a:avLst/>
            <a:gdLst>
              <a:gd name="csX0" fmla="*/ 0 w 2714625"/>
              <a:gd name="csY0" fmla="*/ 152400 h 152400"/>
              <a:gd name="csX1" fmla="*/ 0 w 2714625"/>
              <a:gd name="csY1" fmla="*/ 0 h 152400"/>
              <a:gd name="csX2" fmla="*/ 2714625 w 2714625"/>
              <a:gd name="csY2" fmla="*/ 0 h 1524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</a:cxnLst>
            <a:rect l="l" t="t" r="r" b="b"/>
            <a:pathLst>
              <a:path w="2714625" h="152400">
                <a:moveTo>
                  <a:pt x="0" y="152400"/>
                </a:moveTo>
                <a:lnTo>
                  <a:pt x="0" y="0"/>
                </a:lnTo>
                <a:lnTo>
                  <a:pt x="2714625" y="0"/>
                </a:ln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F00873D5-6535-6C5B-D4CA-C73F2347374C}"/>
              </a:ext>
            </a:extLst>
          </p:cNvPr>
          <p:cNvSpPr txBox="1"/>
          <p:nvPr/>
        </p:nvSpPr>
        <p:spPr>
          <a:xfrm>
            <a:off x="4725367" y="5172941"/>
            <a:ext cx="1774456" cy="34051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txBody>
          <a:bodyPr wrap="none" lIns="36000" tIns="0" rIns="36000" bIns="0" rtlCol="0" anchor="t">
            <a:spAutoFit/>
          </a:bodyPr>
          <a:lstStyle/>
          <a:p>
            <a:pPr algn="ctr">
              <a:buClr>
                <a:schemeClr val="bg2"/>
              </a:buClr>
            </a:pPr>
            <a:r>
              <a:rPr lang="cs-CZ" sz="2000" b="1" dirty="0">
                <a:solidFill>
                  <a:schemeClr val="bg1"/>
                </a:solidFill>
              </a:rPr>
              <a:t>+4 000 000 Kč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8D6D0A1E-E982-D18E-DF73-9AD83CC82E23}"/>
              </a:ext>
            </a:extLst>
          </p:cNvPr>
          <p:cNvSpPr txBox="1"/>
          <p:nvPr/>
        </p:nvSpPr>
        <p:spPr>
          <a:xfrm>
            <a:off x="693705" y="5101188"/>
            <a:ext cx="2486396" cy="138499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1200"/>
              </a:spcAft>
              <a:buNone/>
            </a:pP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Celkové měsíční zatížení po dobu prvních 8 let</a:t>
            </a:r>
            <a:b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je 26 420 Kč</a:t>
            </a:r>
          </a:p>
          <a:p>
            <a:pPr>
              <a:spcAft>
                <a:spcPts val="1200"/>
              </a:spcAft>
              <a:buNone/>
            </a:pP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Klient má úvěr</a:t>
            </a:r>
            <a:b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ve výši 1 000 000 Kč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4837ADF3-6740-55A5-B401-378494E84870}"/>
              </a:ext>
            </a:extLst>
          </p:cNvPr>
          <p:cNvSpPr txBox="1"/>
          <p:nvPr/>
        </p:nvSpPr>
        <p:spPr>
          <a:xfrm>
            <a:off x="9278205" y="5101188"/>
            <a:ext cx="2218470" cy="138499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200"/>
              </a:spcAft>
              <a:buClr>
                <a:schemeClr val="bg2"/>
              </a:buClr>
            </a:pPr>
            <a:r>
              <a:rPr lang="cs-CZ" sz="1600" b="1" dirty="0">
                <a:solidFill>
                  <a:schemeClr val="accent2"/>
                </a:solidFill>
              </a:rPr>
              <a:t>Měsíční splátka úvěrů po dobu prvních 8 let</a:t>
            </a:r>
            <a:br>
              <a:rPr lang="cs-CZ" sz="1600" b="1" dirty="0">
                <a:solidFill>
                  <a:schemeClr val="accent2"/>
                </a:solidFill>
              </a:rPr>
            </a:br>
            <a:r>
              <a:rPr lang="cs-CZ" sz="1600" b="1" dirty="0">
                <a:solidFill>
                  <a:schemeClr val="accent2"/>
                </a:solidFill>
              </a:rPr>
              <a:t>je 30 951 Kč</a:t>
            </a:r>
          </a:p>
          <a:p>
            <a:pPr>
              <a:spcAft>
                <a:spcPts val="1200"/>
              </a:spcAft>
              <a:buClr>
                <a:schemeClr val="bg2"/>
              </a:buClr>
            </a:pPr>
            <a:r>
              <a:rPr lang="cs-CZ" sz="1600" b="1" dirty="0">
                <a:solidFill>
                  <a:schemeClr val="accent2"/>
                </a:solidFill>
              </a:rPr>
              <a:t>Klient má úvěr</a:t>
            </a:r>
            <a:br>
              <a:rPr lang="cs-CZ" sz="1600" b="1" dirty="0">
                <a:solidFill>
                  <a:schemeClr val="accent2"/>
                </a:solidFill>
              </a:rPr>
            </a:br>
            <a:r>
              <a:rPr lang="cs-CZ" sz="1600" b="1" dirty="0">
                <a:solidFill>
                  <a:schemeClr val="accent2"/>
                </a:solidFill>
              </a:rPr>
              <a:t>ve výši 5 000 000 Kč</a:t>
            </a:r>
          </a:p>
        </p:txBody>
      </p:sp>
    </p:spTree>
    <p:extLst>
      <p:ext uri="{BB962C8B-B14F-4D97-AF65-F5344CB8AC3E}">
        <p14:creationId xmlns:p14="http://schemas.microsoft.com/office/powerpoint/2010/main" val="193065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688A1190-731F-FA55-EC46-39C04B5FA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8">
            <a:extLst>
              <a:ext uri="{FF2B5EF4-FFF2-40B4-BE49-F238E27FC236}">
                <a16:creationId xmlns:a16="http://schemas.microsoft.com/office/drawing/2014/main" id="{FD6FBA89-AF64-D7AB-EAA8-8BB1CF7BF617}"/>
              </a:ext>
            </a:extLst>
          </p:cNvPr>
          <p:cNvSpPr/>
          <p:nvPr/>
        </p:nvSpPr>
        <p:spPr>
          <a:xfrm>
            <a:off x="4955" y="-25828"/>
            <a:ext cx="12208485" cy="6896745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/>
          </a:p>
        </p:txBody>
      </p:sp>
      <p:sp>
        <p:nvSpPr>
          <p:cNvPr id="8" name="Google Shape;61;p1">
            <a:extLst>
              <a:ext uri="{FF2B5EF4-FFF2-40B4-BE49-F238E27FC236}">
                <a16:creationId xmlns:a16="http://schemas.microsoft.com/office/drawing/2014/main" id="{3DFE80CF-138F-E317-680E-72E9105032A7}"/>
              </a:ext>
            </a:extLst>
          </p:cNvPr>
          <p:cNvSpPr txBox="1"/>
          <p:nvPr/>
        </p:nvSpPr>
        <p:spPr>
          <a:xfrm>
            <a:off x="7190863" y="2010182"/>
            <a:ext cx="5563313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cs-CZ" sz="4000" b="1">
                <a:solidFill>
                  <a:schemeClr val="accent1">
                    <a:lumMod val="49000"/>
                  </a:schemeClr>
                </a:solidFill>
                <a:latin typeface="+mj-lt"/>
              </a:rPr>
              <a:t>ZELENÁ</a:t>
            </a:r>
            <a:br>
              <a:rPr lang="cs-CZ" sz="4000" b="1" dirty="0">
                <a:solidFill>
                  <a:schemeClr val="accent1">
                    <a:lumMod val="49000"/>
                  </a:schemeClr>
                </a:solidFill>
                <a:latin typeface="+mj-lt"/>
              </a:rPr>
            </a:br>
            <a:r>
              <a:rPr lang="cs-CZ" sz="4000" b="1">
                <a:solidFill>
                  <a:schemeClr val="accent1">
                    <a:lumMod val="76000"/>
                  </a:schemeClr>
                </a:solidFill>
                <a:latin typeface="+mj-lt"/>
              </a:rPr>
              <a:t>OBEC</a:t>
            </a:r>
            <a:br>
              <a:rPr lang="cs-CZ" sz="4000" b="1" dirty="0">
                <a:solidFill>
                  <a:schemeClr val="accent1">
                    <a:lumMod val="76000"/>
                  </a:schemeClr>
                </a:solidFill>
                <a:latin typeface="+mj-lt"/>
              </a:rPr>
            </a:br>
            <a:r>
              <a:rPr lang="cs-CZ" sz="4000" b="1">
                <a:solidFill>
                  <a:schemeClr val="accent1">
                    <a:lumMod val="76000"/>
                  </a:schemeClr>
                </a:solidFill>
                <a:latin typeface="+mj-lt"/>
              </a:rPr>
              <a:t>ROKU</a:t>
            </a:r>
            <a:endParaRPr lang="en-US">
              <a:solidFill>
                <a:schemeClr val="accent1">
                  <a:lumMod val="76000"/>
                </a:schemeClr>
              </a:solidFill>
            </a:endParaRPr>
          </a:p>
        </p:txBody>
      </p:sp>
      <p:sp>
        <p:nvSpPr>
          <p:cNvPr id="9" name="Google Shape;91;p3">
            <a:extLst>
              <a:ext uri="{FF2B5EF4-FFF2-40B4-BE49-F238E27FC236}">
                <a16:creationId xmlns:a16="http://schemas.microsoft.com/office/drawing/2014/main" id="{018A8F29-2E21-8DC4-72E9-38BC1D7785D3}"/>
              </a:ext>
            </a:extLst>
          </p:cNvPr>
          <p:cNvSpPr txBox="1"/>
          <p:nvPr/>
        </p:nvSpPr>
        <p:spPr>
          <a:xfrm>
            <a:off x="7190863" y="4045110"/>
            <a:ext cx="472099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cs-CZ" sz="2800" b="1" dirty="0">
                <a:solidFill>
                  <a:schemeClr val="accent1">
                    <a:lumMod val="49000"/>
                  </a:schemeClr>
                </a:solidFill>
                <a:cs typeface="Arial"/>
                <a:sym typeface="Arial"/>
              </a:rPr>
              <a:t>Soutěž ČSOB na podporu </a:t>
            </a:r>
            <a:br>
              <a:rPr lang="cs-CZ" sz="2800" b="1" dirty="0">
                <a:solidFill>
                  <a:schemeClr val="accent1">
                    <a:lumMod val="49000"/>
                  </a:schemeClr>
                </a:solidFill>
                <a:cs typeface="Arial"/>
                <a:sym typeface="Arial"/>
              </a:rPr>
            </a:br>
            <a:r>
              <a:rPr lang="cs-CZ" sz="2800" b="1" dirty="0">
                <a:solidFill>
                  <a:schemeClr val="accent1">
                    <a:lumMod val="49000"/>
                  </a:schemeClr>
                </a:solidFill>
                <a:cs typeface="Arial"/>
                <a:sym typeface="Arial"/>
              </a:rPr>
              <a:t>rozvoje municipalit</a:t>
            </a:r>
            <a:endParaRPr lang="en-US" dirty="0">
              <a:solidFill>
                <a:schemeClr val="accent1">
                  <a:lumMod val="49000"/>
                </a:schemeClr>
              </a:solidFill>
            </a:endParaRPr>
          </a:p>
        </p:txBody>
      </p:sp>
      <p:pic>
        <p:nvPicPr>
          <p:cNvPr id="2" name="Picture 1" descr="Green Point.png">
            <a:extLst>
              <a:ext uri="{FF2B5EF4-FFF2-40B4-BE49-F238E27FC236}">
                <a16:creationId xmlns:a16="http://schemas.microsoft.com/office/drawing/2014/main" id="{8035D9F8-075D-6A13-8198-C1DE78B691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106" t="7770" r="3892" b="7770"/>
          <a:stretch>
            <a:fillRect/>
          </a:stretch>
        </p:blipFill>
        <p:spPr>
          <a:xfrm>
            <a:off x="-497388" y="144571"/>
            <a:ext cx="7518410" cy="7217180"/>
          </a:xfrm>
          <a:prstGeom prst="rect">
            <a:avLst/>
          </a:prstGeom>
        </p:spPr>
      </p:pic>
      <p:sp>
        <p:nvSpPr>
          <p:cNvPr id="7" name="Obdélník: s jedním zakulaceným rohem 2">
            <a:extLst>
              <a:ext uri="{FF2B5EF4-FFF2-40B4-BE49-F238E27FC236}">
                <a16:creationId xmlns:a16="http://schemas.microsoft.com/office/drawing/2014/main" id="{1D6804CC-E1F9-2C18-DC37-77CD6133E079}"/>
              </a:ext>
            </a:extLst>
          </p:cNvPr>
          <p:cNvSpPr/>
          <p:nvPr/>
        </p:nvSpPr>
        <p:spPr>
          <a:xfrm flipH="1">
            <a:off x="5904891" y="5715521"/>
            <a:ext cx="6297547" cy="1142479"/>
          </a:xfrm>
          <a:prstGeom prst="round1Rect">
            <a:avLst>
              <a:gd name="adj" fmla="val 2421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3" name="Picture 12" descr="ZOR_Partneri (2320x280) 26 III.png">
            <a:extLst>
              <a:ext uri="{FF2B5EF4-FFF2-40B4-BE49-F238E27FC236}">
                <a16:creationId xmlns:a16="http://schemas.microsoft.com/office/drawing/2014/main" id="{5F28AFE6-5214-2CFF-F3C2-C8FB810BB1B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9703" r="9561" b="3009"/>
          <a:stretch>
            <a:fillRect/>
          </a:stretch>
        </p:blipFill>
        <p:spPr>
          <a:xfrm>
            <a:off x="6106438" y="5820824"/>
            <a:ext cx="5941972" cy="924240"/>
          </a:xfrm>
          <a:prstGeom prst="rect">
            <a:avLst/>
          </a:prstGeom>
        </p:spPr>
      </p:pic>
      <p:pic>
        <p:nvPicPr>
          <p:cNvPr id="3" name="Picture 2" descr="Zelena_obec_roku_2026-logo-RGB.png">
            <a:extLst>
              <a:ext uri="{FF2B5EF4-FFF2-40B4-BE49-F238E27FC236}">
                <a16:creationId xmlns:a16="http://schemas.microsoft.com/office/drawing/2014/main" id="{EF375EA8-061A-D534-BB98-4406569B0F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02606" y="-2097"/>
            <a:ext cx="1965913" cy="2012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16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ČSOB">
  <a:themeElements>
    <a:clrScheme name="CSOB - PALETA">
      <a:dk1>
        <a:srgbClr val="3C3C3C"/>
      </a:dk1>
      <a:lt1>
        <a:srgbClr val="FFFFFF"/>
      </a:lt1>
      <a:dk2>
        <a:srgbClr val="0099CD"/>
      </a:dk2>
      <a:lt2>
        <a:srgbClr val="003366"/>
      </a:lt2>
      <a:accent1>
        <a:srgbClr val="82B800"/>
      </a:accent1>
      <a:accent2>
        <a:srgbClr val="FF6000"/>
      </a:accent2>
      <a:accent3>
        <a:srgbClr val="FACB17"/>
      </a:accent3>
      <a:accent4>
        <a:srgbClr val="8E2D33"/>
      </a:accent4>
      <a:accent5>
        <a:srgbClr val="B6005E"/>
      </a:accent5>
      <a:accent6>
        <a:srgbClr val="693393"/>
      </a:accent6>
      <a:hlink>
        <a:srgbClr val="0099CD"/>
      </a:hlink>
      <a:folHlink>
        <a:srgbClr val="003366"/>
      </a:folHlink>
    </a:clrScheme>
    <a:fontScheme name="Custom 2">
      <a:majorFont>
        <a:latin typeface="Sen ExtraBold"/>
        <a:ea typeface=""/>
        <a:cs typeface=""/>
      </a:majorFont>
      <a:minorFont>
        <a:latin typeface="Se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14A0C1"/>
            </a:gs>
            <a:gs pos="100000">
              <a:srgbClr val="56BFE9"/>
            </a:gs>
          </a:gsLst>
          <a:lin ang="18900000" scaled="1"/>
        </a:gradFill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30400" indent="-230400" algn="l">
          <a:buClr>
            <a:schemeClr val="bg2"/>
          </a:buClr>
          <a:buFont typeface="Arial" panose="020B0604020202020204" pitchFamily="34" charset="0"/>
          <a:buChar char="•"/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74CB63C5A7B494B810573D4234CCB7A" ma:contentTypeVersion="14" ma:contentTypeDescription="Vytvoří nový dokument" ma:contentTypeScope="" ma:versionID="b55224a58a229b61d2b5337f0080576e">
  <xsd:schema xmlns:xsd="http://www.w3.org/2001/XMLSchema" xmlns:xs="http://www.w3.org/2001/XMLSchema" xmlns:p="http://schemas.microsoft.com/office/2006/metadata/properties" xmlns:ns2="8e9ab7d4-d409-41a5-a424-f8e1e6b96c3a" xmlns:ns3="7f2a3e7f-6869-4449-a9ba-dfda206b4a2f" targetNamespace="http://schemas.microsoft.com/office/2006/metadata/properties" ma:root="true" ma:fieldsID="2aca1cb1a2985355c267c10b5b76fcd2" ns2:_="" ns3:_="">
    <xsd:import namespace="8e9ab7d4-d409-41a5-a424-f8e1e6b96c3a"/>
    <xsd:import namespace="7f2a3e7f-6869-4449-a9ba-dfda206b4a2f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9ab7d4-d409-41a5-a424-f8e1e6b96c3a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Značky obrázků" ma:readOnly="false" ma:fieldId="{5cf76f15-5ced-4ddc-b409-7134ff3c332f}" ma:taxonomyMulti="true" ma:sspId="5dd2a442-b5ac-41d7-a9d3-5c9eaa3193f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2a3e7f-6869-4449-a9ba-dfda206b4a2f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e2167667-50ec-4efb-b569-efee9968b1bf}" ma:internalName="TaxCatchAll" ma:showField="CatchAllData" ma:web="7f2a3e7f-6869-4449-a9ba-dfda206b4a2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e9ab7d4-d409-41a5-a424-f8e1e6b96c3a">
      <Terms xmlns="http://schemas.microsoft.com/office/infopath/2007/PartnerControls"/>
    </lcf76f155ced4ddcb4097134ff3c332f>
    <TaxCatchAll xmlns="7f2a3e7f-6869-4449-a9ba-dfda206b4a2f" xsi:nil="true"/>
  </documentManagement>
</p:properties>
</file>

<file path=customXml/itemProps1.xml><?xml version="1.0" encoding="utf-8"?>
<ds:datastoreItem xmlns:ds="http://schemas.openxmlformats.org/officeDocument/2006/customXml" ds:itemID="{A73C8846-9FCE-4137-90F4-60528F4FB2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e9ab7d4-d409-41a5-a424-f8e1e6b96c3a"/>
    <ds:schemaRef ds:uri="7f2a3e7f-6869-4449-a9ba-dfda206b4a2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4F069D-6BB8-4DA3-994B-14E762449F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4718A3B-87ED-4776-B7F7-E33BEA6CC459}">
  <ds:schemaRefs>
    <ds:schemaRef ds:uri="http://purl.org/dc/terms/"/>
    <ds:schemaRef ds:uri="http://schemas.microsoft.com/office/infopath/2007/PartnerControls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7f2a3e7f-6869-4449-a9ba-dfda206b4a2f"/>
    <ds:schemaRef ds:uri="8e9ab7d4-d409-41a5-a424-f8e1e6b96c3a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16</Words>
  <Application>Microsoft Office PowerPoint</Application>
  <PresentationFormat>Širokoúhlá obrazovka</PresentationFormat>
  <Paragraphs>108</Paragraphs>
  <Slides>12</Slides>
  <Notes>8</Notes>
  <HiddenSlides>1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2</vt:i4>
      </vt:variant>
    </vt:vector>
  </HeadingPairs>
  <TitlesOfParts>
    <vt:vector size="19" baseType="lpstr">
      <vt:lpstr>Aptos</vt:lpstr>
      <vt:lpstr>Arial</vt:lpstr>
      <vt:lpstr>Sen</vt:lpstr>
      <vt:lpstr>Sen ExtraBold</vt:lpstr>
      <vt:lpstr>Wingdings</vt:lpstr>
      <vt:lpstr>ČSOB</vt:lpstr>
      <vt:lpstr>think-cell Slide</vt:lpstr>
      <vt:lpstr>Prezentace aplikace PowerPoint</vt:lpstr>
      <vt:lpstr>Prezentace aplikace PowerPoint</vt:lpstr>
      <vt:lpstr>Bytové družstvo</vt:lpstr>
      <vt:lpstr>Bytová družstva v Česku</vt:lpstr>
      <vt:lpstr>Proč by mělo město volit právě družstvo?</vt:lpstr>
      <vt:lpstr>Jak může město spolupracovat s družstvem?</vt:lpstr>
      <vt:lpstr>Jak MŮŽE SPOLUPRACOVAT BANKA S DRUŽSTVEM?</vt:lpstr>
      <vt:lpstr>Ilustrační příklady | Financování</vt:lpstr>
      <vt:lpstr>Prezentace aplikace PowerPoint</vt:lpstr>
      <vt:lpstr>Zelená obec roku 2026</vt:lpstr>
      <vt:lpstr>Prezentace aplikace PowerPoint</vt:lpstr>
      <vt:lpstr>V roce 2025 banky poskytly úvěry na bydlení v objemu 445 miliard Kč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sba o kontrolu fontů</dc:title>
  <dc:creator>TURNSKÝ Tomáš</dc:creator>
  <cp:lastModifiedBy>Vít Franěk</cp:lastModifiedBy>
  <cp:revision>107</cp:revision>
  <dcterms:created xsi:type="dcterms:W3CDTF">2025-12-11T15:07:49Z</dcterms:created>
  <dcterms:modified xsi:type="dcterms:W3CDTF">2026-03-17T08:2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4CB63C5A7B494B810573D4234CCB7A</vt:lpwstr>
  </property>
  <property fmtid="{D5CDD505-2E9C-101B-9397-08002B2CF9AE}" pid="3" name="MediaServiceImageTags">
    <vt:lpwstr/>
  </property>
  <property fmtid="{D5CDD505-2E9C-101B-9397-08002B2CF9AE}" pid="4" name="MSIP_Label_03faec90-cc5a-4f20-9584-a1c4096f3391_Enabled">
    <vt:lpwstr>true</vt:lpwstr>
  </property>
  <property fmtid="{D5CDD505-2E9C-101B-9397-08002B2CF9AE}" pid="5" name="MSIP_Label_03faec90-cc5a-4f20-9584-a1c4096f3391_SetDate">
    <vt:lpwstr>2026-03-16T22:06:24Z</vt:lpwstr>
  </property>
  <property fmtid="{D5CDD505-2E9C-101B-9397-08002B2CF9AE}" pid="6" name="MSIP_Label_03faec90-cc5a-4f20-9584-a1c4096f3391_Method">
    <vt:lpwstr>Privileged</vt:lpwstr>
  </property>
  <property fmtid="{D5CDD505-2E9C-101B-9397-08002B2CF9AE}" pid="7" name="MSIP_Label_03faec90-cc5a-4f20-9584-a1c4096f3391_Name">
    <vt:lpwstr>03faec90-cc5a-4f20-9584-a1c4096f3391</vt:lpwstr>
  </property>
  <property fmtid="{D5CDD505-2E9C-101B-9397-08002B2CF9AE}" pid="8" name="MSIP_Label_03faec90-cc5a-4f20-9584-a1c4096f3391_SiteId">
    <vt:lpwstr>64af2aee-7d6c-49ac-a409-192d3fee73b8</vt:lpwstr>
  </property>
  <property fmtid="{D5CDD505-2E9C-101B-9397-08002B2CF9AE}" pid="9" name="MSIP_Label_03faec90-cc5a-4f20-9584-a1c4096f3391_ActionId">
    <vt:lpwstr>4c35db3d-c4ba-4b57-82e1-d82f798e90c6</vt:lpwstr>
  </property>
  <property fmtid="{D5CDD505-2E9C-101B-9397-08002B2CF9AE}" pid="10" name="MSIP_Label_03faec90-cc5a-4f20-9584-a1c4096f3391_ContentBits">
    <vt:lpwstr>0</vt:lpwstr>
  </property>
  <property fmtid="{D5CDD505-2E9C-101B-9397-08002B2CF9AE}" pid="11" name="MSIP_Label_03faec90-cc5a-4f20-9584-a1c4096f3391_Tag">
    <vt:lpwstr>10, 0, 1, 1</vt:lpwstr>
  </property>
</Properties>
</file>